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notesMasterIdLst>
    <p:notesMasterId r:id="rId10"/>
  </p:notesMasterIdLst>
  <p:sldIdLst>
    <p:sldId id="256" r:id="rId2"/>
    <p:sldId id="6188" r:id="rId3"/>
    <p:sldId id="6189" r:id="rId4"/>
    <p:sldId id="11711" r:id="rId5"/>
    <p:sldId id="6190" r:id="rId6"/>
    <p:sldId id="259" r:id="rId7"/>
    <p:sldId id="258" r:id="rId8"/>
    <p:sldId id="257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E8D6"/>
    <a:srgbClr val="F0E5D1"/>
    <a:srgbClr val="F9F4EB"/>
    <a:srgbClr val="FF8980"/>
    <a:srgbClr val="654EA3"/>
    <a:srgbClr val="E7E8E7"/>
    <a:srgbClr val="6C6F6C"/>
    <a:srgbClr val="FFFFFF"/>
    <a:srgbClr val="F6F0E6"/>
    <a:srgbClr val="00B0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06" autoAdjust="0"/>
  </p:normalViewPr>
  <p:slideViewPr>
    <p:cSldViewPr snapToGrid="0" showGuides="1">
      <p:cViewPr>
        <p:scale>
          <a:sx n="125" d="100"/>
          <a:sy n="125" d="100"/>
        </p:scale>
        <p:origin x="1506" y="672"/>
      </p:cViewPr>
      <p:guideLst>
        <p:guide orient="horz" pos="2160"/>
        <p:guide pos="3840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011" y="-45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cope 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184</c:v>
                </c:pt>
                <c:pt idx="1">
                  <c:v>126</c:v>
                </c:pt>
                <c:pt idx="2">
                  <c:v>123</c:v>
                </c:pt>
                <c:pt idx="3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DF-4E0C-88A9-6C7543752EB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cope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5"/>
              </a:solidFill>
              <a:ln w="28575" cap="rnd">
                <a:solidFill>
                  <a:schemeClr val="accent2"/>
                </a:solidFill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3735-4755-9B44-B023A5D98118}"/>
              </c:ext>
            </c:extLst>
          </c:dPt>
          <c:cat>
            <c:numRef>
              <c:f>Tabelle1!$A$2:$A$13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cat>
          <c:val>
            <c:numRef>
              <c:f>Tabelle1!$C$2:$C$13</c:f>
              <c:numCache>
                <c:formatCode>General</c:formatCode>
                <c:ptCount val="12"/>
                <c:pt idx="0">
                  <c:v>937</c:v>
                </c:pt>
                <c:pt idx="1">
                  <c:v>288</c:v>
                </c:pt>
                <c:pt idx="2">
                  <c:v>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DDF-4E0C-88A9-6C7543752EB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cop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cat>
          <c:val>
            <c:numRef>
              <c:f>Tabelle1!$D$2:$D$13</c:f>
              <c:numCache>
                <c:formatCode>General</c:formatCode>
                <c:ptCount val="12"/>
                <c:pt idx="0">
                  <c:v>20452</c:v>
                </c:pt>
                <c:pt idx="1">
                  <c:v>23715</c:v>
                </c:pt>
                <c:pt idx="2">
                  <c:v>20329</c:v>
                </c:pt>
                <c:pt idx="3">
                  <c:v>18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2D-4A66-BC4D-00129C0F06CC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Projection (incl. growth)</c:v>
                </c:pt>
              </c:strCache>
            </c:strRef>
          </c:tx>
          <c:spPr>
            <a:solidFill>
              <a:schemeClr val="accent6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General</c:formatCode>
                <c:ptCount val="1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</c:numCache>
            </c:numRef>
          </c:cat>
          <c:val>
            <c:numRef>
              <c:f>Tabelle1!$E$2:$E$13</c:f>
              <c:numCache>
                <c:formatCode>_-* #,##0_-;\-* #,##0_-;_-* "-"??_-;_-@_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7743.875</c:v>
                </c:pt>
                <c:pt idx="5">
                  <c:v>17229.75</c:v>
                </c:pt>
                <c:pt idx="6">
                  <c:v>16715.625</c:v>
                </c:pt>
                <c:pt idx="7">
                  <c:v>16201.5</c:v>
                </c:pt>
                <c:pt idx="8">
                  <c:v>15687.375</c:v>
                </c:pt>
                <c:pt idx="9">
                  <c:v>15173.25</c:v>
                </c:pt>
                <c:pt idx="10">
                  <c:v>14659.125</c:v>
                </c:pt>
                <c:pt idx="11">
                  <c:v>14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2D-4A66-BC4D-00129C0F06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888000"/>
        <c:axId val="705888416"/>
      </c:barChart>
      <c:catAx>
        <c:axId val="705888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5888416"/>
        <c:crosses val="autoZero"/>
        <c:auto val="1"/>
        <c:lblAlgn val="ctr"/>
        <c:lblOffset val="100"/>
        <c:noMultiLvlLbl val="0"/>
      </c:catAx>
      <c:valAx>
        <c:axId val="705888416"/>
        <c:scaling>
          <c:orientation val="minMax"/>
          <c:max val="2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5888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9F0-4193-8FE9-B40892584BA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193-8FE9-B40892584BA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9F0-4193-8FE9-B40892584BA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9F0-4193-8FE9-B40892584BA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9F0-4193-8FE9-B40892584BA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9F0-4193-8FE9-B40892584BA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9F0-4193-8FE9-B40892584BA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9F0-4193-8FE9-B40892584BA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9F0-4193-8FE9-B40892584BA2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89F0-4193-8FE9-B40892584BA2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89F0-4193-8FE9-B40892584BA2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89F0-4193-8FE9-B40892584B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3</c:f>
              <c:strCache>
                <c:ptCount val="12"/>
                <c:pt idx="0">
                  <c:v>Scope 1 - Combustion &amp; Fugitives</c:v>
                </c:pt>
                <c:pt idx="1">
                  <c:v>Scope 2 - Purchased Energy</c:v>
                </c:pt>
                <c:pt idx="2">
                  <c:v>Purchased Goods &amp; Services</c:v>
                </c:pt>
                <c:pt idx="3">
                  <c:v>Capital Goods</c:v>
                </c:pt>
                <c:pt idx="4">
                  <c:v>Fuel- and Energy-related Activities (not covered in Scope 1&amp;2)</c:v>
                </c:pt>
                <c:pt idx="5">
                  <c:v>Upstream Transportation &amp; Distribution</c:v>
                </c:pt>
                <c:pt idx="6">
                  <c:v>Waste Generation in Operations</c:v>
                </c:pt>
                <c:pt idx="7">
                  <c:v>Business Travel</c:v>
                </c:pt>
                <c:pt idx="8">
                  <c:v>Employee Commuting</c:v>
                </c:pt>
                <c:pt idx="9">
                  <c:v>Downstream Transportation &amp; Distribution</c:v>
                </c:pt>
                <c:pt idx="10">
                  <c:v>Use of sold Products</c:v>
                </c:pt>
                <c:pt idx="11">
                  <c:v>End-of-Life Treatment of sold Products</c:v>
                </c:pt>
              </c:strCache>
            </c:strRef>
          </c:cat>
          <c:val>
            <c:numRef>
              <c:f>Tabelle1!$B$2:$B$13</c:f>
              <c:numCache>
                <c:formatCode>_-* #,##0_-;\-* #,##0_-;_-* "-"??_-;_-@_-</c:formatCode>
                <c:ptCount val="12"/>
                <c:pt idx="0">
                  <c:v>110</c:v>
                </c:pt>
                <c:pt idx="1">
                  <c:v>0.4</c:v>
                </c:pt>
                <c:pt idx="2">
                  <c:v>12242</c:v>
                </c:pt>
                <c:pt idx="3">
                  <c:v>92</c:v>
                </c:pt>
                <c:pt idx="4">
                  <c:v>168</c:v>
                </c:pt>
                <c:pt idx="5">
                  <c:v>1813</c:v>
                </c:pt>
                <c:pt idx="6">
                  <c:v>10</c:v>
                </c:pt>
                <c:pt idx="7">
                  <c:v>190</c:v>
                </c:pt>
                <c:pt idx="8">
                  <c:v>81</c:v>
                </c:pt>
                <c:pt idx="9">
                  <c:v>1809</c:v>
                </c:pt>
                <c:pt idx="10">
                  <c:v>158</c:v>
                </c:pt>
                <c:pt idx="11">
                  <c:v>1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0-4D27-AA5B-3741E3DB5B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9F0-4193-8FE9-B40892584BA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193-8FE9-B40892584BA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9F0-4193-8FE9-B40892584BA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9F0-4193-8FE9-B40892584BA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9F0-4193-8FE9-B40892584BA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9F0-4193-8FE9-B40892584BA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9F0-4193-8FE9-B40892584BA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9F0-4193-8FE9-B40892584BA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9F0-4193-8FE9-B40892584BA2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89F0-4193-8FE9-B40892584BA2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89F0-4193-8FE9-B40892584BA2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89F0-4193-8FE9-B40892584B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3</c:f>
              <c:strCache>
                <c:ptCount val="12"/>
                <c:pt idx="0">
                  <c:v>Scope 1 - Combustion &amp; Fugitives</c:v>
                </c:pt>
                <c:pt idx="1">
                  <c:v>Scope 2 - Purchased Energy</c:v>
                </c:pt>
                <c:pt idx="2">
                  <c:v>Purchased Goods &amp; Services</c:v>
                </c:pt>
                <c:pt idx="3">
                  <c:v>Capital Goods</c:v>
                </c:pt>
                <c:pt idx="4">
                  <c:v>Fuel- and Energy-related Activities (not covered in Scope 1&amp;2)</c:v>
                </c:pt>
                <c:pt idx="5">
                  <c:v>Upstream Transportation &amp; Distribution</c:v>
                </c:pt>
                <c:pt idx="6">
                  <c:v>Waste Generation in Operations</c:v>
                </c:pt>
                <c:pt idx="7">
                  <c:v>Business Travel</c:v>
                </c:pt>
                <c:pt idx="8">
                  <c:v>Employee Commuting</c:v>
                </c:pt>
                <c:pt idx="9">
                  <c:v>Downstream Transportation &amp; Distribution</c:v>
                </c:pt>
                <c:pt idx="10">
                  <c:v>Use of sold Products</c:v>
                </c:pt>
                <c:pt idx="11">
                  <c:v>End-of-Life Treatment of sold Products</c:v>
                </c:pt>
              </c:strCache>
            </c:strRef>
          </c:cat>
          <c:val>
            <c:numRef>
              <c:f>Tabelle1!$B$2:$B$13</c:f>
              <c:numCache>
                <c:formatCode>_-* #,##0_-;\-* #,##0_-;_-* "-"??_-;_-@_-</c:formatCode>
                <c:ptCount val="12"/>
                <c:pt idx="0">
                  <c:v>123</c:v>
                </c:pt>
                <c:pt idx="1">
                  <c:v>1</c:v>
                </c:pt>
                <c:pt idx="2">
                  <c:v>13956</c:v>
                </c:pt>
                <c:pt idx="3">
                  <c:v>324</c:v>
                </c:pt>
                <c:pt idx="4">
                  <c:v>131</c:v>
                </c:pt>
                <c:pt idx="5">
                  <c:v>1817</c:v>
                </c:pt>
                <c:pt idx="6">
                  <c:v>7</c:v>
                </c:pt>
                <c:pt idx="7">
                  <c:v>13</c:v>
                </c:pt>
                <c:pt idx="8">
                  <c:v>91</c:v>
                </c:pt>
                <c:pt idx="9">
                  <c:v>1883</c:v>
                </c:pt>
                <c:pt idx="10">
                  <c:v>153</c:v>
                </c:pt>
                <c:pt idx="11">
                  <c:v>1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0-4D27-AA5B-3741E3DB5B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DA-4DE2-87DB-A9BFC558E5F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DA-4DE2-87DB-A9BFC558E5F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1DA-4DE2-87DB-A9BFC558E5F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1DA-4DE2-87DB-A9BFC558E5F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1DA-4DE2-87DB-A9BFC558E5F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1DA-4DE2-87DB-A9BFC558E5F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1DA-4DE2-87DB-A9BFC558E5F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1DA-4DE2-87DB-A9BFC558E5F1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11DA-4DE2-87DB-A9BFC558E5F1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11DA-4DE2-87DB-A9BFC558E5F1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1DA-4DE2-87DB-A9BFC558E5F1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11DA-4DE2-87DB-A9BFC558E5F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3</c:f>
              <c:strCache>
                <c:ptCount val="12"/>
                <c:pt idx="0">
                  <c:v>Scope 1 - Combustion &amp; Fugitives</c:v>
                </c:pt>
                <c:pt idx="1">
                  <c:v>Scope 2 - Purchased Energy</c:v>
                </c:pt>
                <c:pt idx="2">
                  <c:v>Purchased Goods &amp; Services</c:v>
                </c:pt>
                <c:pt idx="3">
                  <c:v>Capital Goods</c:v>
                </c:pt>
                <c:pt idx="4">
                  <c:v>Fuel- and Energy-related Activities (not covered in Scope 1&amp;2)</c:v>
                </c:pt>
                <c:pt idx="5">
                  <c:v>Upstream Transportation &amp; Distribution</c:v>
                </c:pt>
                <c:pt idx="6">
                  <c:v>Waste Generation in Operations</c:v>
                </c:pt>
                <c:pt idx="7">
                  <c:v>Business Travel</c:v>
                </c:pt>
                <c:pt idx="8">
                  <c:v>Employee Commuting</c:v>
                </c:pt>
                <c:pt idx="9">
                  <c:v>Downstream Transportation &amp; Distribution</c:v>
                </c:pt>
                <c:pt idx="10">
                  <c:v>Use of sold Products</c:v>
                </c:pt>
                <c:pt idx="11">
                  <c:v>End-of-Life Treatment of sold Products</c:v>
                </c:pt>
              </c:strCache>
            </c:strRef>
          </c:cat>
          <c:val>
            <c:numRef>
              <c:f>Tabelle1!$B$2:$B$13</c:f>
              <c:numCache>
                <c:formatCode>_-* #,##0_-;\-* #,##0_-;_-* "-"??_-;_-@_-</c:formatCode>
                <c:ptCount val="12"/>
                <c:pt idx="0">
                  <c:v>126</c:v>
                </c:pt>
                <c:pt idx="1">
                  <c:v>288</c:v>
                </c:pt>
                <c:pt idx="2">
                  <c:v>15390</c:v>
                </c:pt>
                <c:pt idx="3">
                  <c:v>342</c:v>
                </c:pt>
                <c:pt idx="4">
                  <c:v>128</c:v>
                </c:pt>
                <c:pt idx="5">
                  <c:v>1838</c:v>
                </c:pt>
                <c:pt idx="6">
                  <c:v>6</c:v>
                </c:pt>
                <c:pt idx="7">
                  <c:v>92</c:v>
                </c:pt>
                <c:pt idx="8">
                  <c:v>211</c:v>
                </c:pt>
                <c:pt idx="9">
                  <c:v>3428</c:v>
                </c:pt>
                <c:pt idx="10">
                  <c:v>194</c:v>
                </c:pt>
                <c:pt idx="11">
                  <c:v>2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0-4D27-AA5B-3741E3DB5B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19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68-491F-859D-2DA95E1064F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868-491F-859D-2DA95E1064F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868-491F-859D-2DA95E1064F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868-491F-859D-2DA95E1064F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868-491F-859D-2DA95E1064F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868-491F-859D-2DA95E1064F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868-491F-859D-2DA95E1064F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868-491F-859D-2DA95E1064F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868-491F-859D-2DA95E1064F7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868-491F-859D-2DA95E1064F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868-491F-859D-2DA95E1064F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868-491F-859D-2DA95E1064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3</c:f>
              <c:strCache>
                <c:ptCount val="12"/>
                <c:pt idx="0">
                  <c:v>Scope 1 - Combustion &amp; Fugitives</c:v>
                </c:pt>
                <c:pt idx="1">
                  <c:v>Scope 2 - Purchased Energy</c:v>
                </c:pt>
                <c:pt idx="2">
                  <c:v>Purchased Goods &amp; Services</c:v>
                </c:pt>
                <c:pt idx="3">
                  <c:v>Capital Goods</c:v>
                </c:pt>
                <c:pt idx="4">
                  <c:v>Fuel- and Energy-related Activities (not covered in Scope 1&amp;2)</c:v>
                </c:pt>
                <c:pt idx="5">
                  <c:v>Upstream Transportation &amp; Distribution</c:v>
                </c:pt>
                <c:pt idx="6">
                  <c:v>Waste Generation in Operations</c:v>
                </c:pt>
                <c:pt idx="7">
                  <c:v>Business Travel</c:v>
                </c:pt>
                <c:pt idx="8">
                  <c:v>Employee Commuting</c:v>
                </c:pt>
                <c:pt idx="9">
                  <c:v>Downstream Transportation &amp; Distribution</c:v>
                </c:pt>
                <c:pt idx="10">
                  <c:v>Use of sold Products</c:v>
                </c:pt>
                <c:pt idx="11">
                  <c:v>End-of-Life Treatment of sold Products</c:v>
                </c:pt>
              </c:strCache>
            </c:strRef>
          </c:cat>
          <c:val>
            <c:numRef>
              <c:f>Tabelle1!$B$2:$B$13</c:f>
              <c:numCache>
                <c:formatCode>_-* #,##0_-;\-* #,##0_-;_-* "-"??_-;_-@_-</c:formatCode>
                <c:ptCount val="12"/>
                <c:pt idx="0">
                  <c:v>184</c:v>
                </c:pt>
                <c:pt idx="1">
                  <c:v>937.40000000000009</c:v>
                </c:pt>
                <c:pt idx="2">
                  <c:v>13451</c:v>
                </c:pt>
                <c:pt idx="3">
                  <c:v>353</c:v>
                </c:pt>
                <c:pt idx="4">
                  <c:v>131</c:v>
                </c:pt>
                <c:pt idx="5">
                  <c:v>1480</c:v>
                </c:pt>
                <c:pt idx="6">
                  <c:v>5</c:v>
                </c:pt>
                <c:pt idx="7">
                  <c:v>577</c:v>
                </c:pt>
                <c:pt idx="8">
                  <c:v>319</c:v>
                </c:pt>
                <c:pt idx="9">
                  <c:v>2244</c:v>
                </c:pt>
                <c:pt idx="10">
                  <c:v>95</c:v>
                </c:pt>
                <c:pt idx="11">
                  <c:v>1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0-4D27-AA5B-3741E3DB5B1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4543" y="303712"/>
            <a:ext cx="6008914" cy="338001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24543" y="3838847"/>
            <a:ext cx="6008914" cy="499164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48549" y="8817429"/>
            <a:ext cx="507864" cy="3265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59511142-A885-4DA7-BB8F-E9C0008EE1A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117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142875" indent="-127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09563" indent="-147638" algn="l" defTabSz="914400" rtl="0" eaLnBrk="1" latinLnBrk="0" hangingPunct="1">
      <a:buFont typeface="Calibri" panose="020F050202020403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22275" indent="-122238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9438" indent="-147638" algn="l" defTabSz="914400" rtl="0" eaLnBrk="1" latinLnBrk="0" hangingPunct="1">
      <a:buFont typeface="Calibri" panose="020F0502020204030204" pitchFamily="34" charset="0"/>
      <a:buChar char="○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303213"/>
            <a:ext cx="6007100" cy="33797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Gotham-Book"/>
              </a:rPr>
              <a:t>Climate strategy is rooted in cutting edge climate scie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u="none" strike="noStrike" baseline="0" dirty="0">
                <a:latin typeface="Gotham-Bold"/>
              </a:rPr>
              <a:t>Our goal is to achieve climate neutrality by 2030 and we’re committed to net-zero no later than 2050</a:t>
            </a:r>
            <a:r>
              <a:rPr lang="en-US" sz="1800" b="0" i="0" u="none" strike="noStrike" baseline="0" dirty="0">
                <a:latin typeface="Gotham-Book"/>
              </a:rPr>
              <a:t>.</a:t>
            </a:r>
            <a:endParaRPr lang="de-DE" sz="18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Gotham-Book"/>
              </a:rPr>
              <a:t>Measuring starting point in 2020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latin typeface="Gotham-Book"/>
              </a:rPr>
              <a:t>Set science-based targets to avoid and reduce emiss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 err="1">
                <a:latin typeface="Gotham-Book"/>
              </a:rPr>
              <a:t>Offsett</a:t>
            </a:r>
            <a:r>
              <a:rPr lang="en-US" sz="1800" b="0" i="0" u="none" strike="noStrike" baseline="0" dirty="0">
                <a:latin typeface="Gotham-Book"/>
              </a:rPr>
              <a:t> remaining (unavoidable) emissions in 2030 to become climate neutr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11142-A885-4DA7-BB8F-E9C0008EE1A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064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303213"/>
            <a:ext cx="6007100" cy="33797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20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cope 1 and 2 emissions</a:t>
            </a:r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direct influence</a:t>
            </a:r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already overachieved 2030 targets (maintain!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cope 3</a:t>
            </a:r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Now account for 98%</a:t>
            </a:r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Delivered emissions from supply chain with far less influence on</a:t>
            </a:r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Increased due to more detailed reporting </a:t>
            </a:r>
            <a:r>
              <a:rPr lang="en-US" dirty="0">
                <a:sym typeface="Wingdings" panose="05000000000000000000" pitchFamily="2" charset="2"/>
              </a:rPr>
              <a:t> emission higher than estimated in 2019 (raw materials, transport) + higher sales</a:t>
            </a:r>
            <a:endParaRPr lang="en-US" dirty="0"/>
          </a:p>
          <a:p>
            <a:pPr marL="314325" lvl="1" indent="-171450">
              <a:buFont typeface="Arial" panose="020B0604020202020204" pitchFamily="34" charset="0"/>
              <a:buChar char="•"/>
            </a:pPr>
            <a:r>
              <a:rPr lang="en-US" dirty="0"/>
              <a:t>Now targeting those developing several action pla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11142-A885-4DA7-BB8F-E9C0008EE1A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709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16E55D4-ADDA-C212-470D-77C71861664F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B58E59-9B8B-B255-F448-5CA5A8034A3F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DB52734-6D28-4AE3-DA84-F7CC9D57A579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635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5C409F4-4E3F-EA68-CA80-524223772716}"/>
              </a:ext>
            </a:extLst>
          </p:cNvPr>
          <p:cNvGrpSpPr>
            <a:grpSpLocks/>
          </p:cNvGrpSpPr>
          <p:nvPr userDrawn="1"/>
        </p:nvGrpSpPr>
        <p:grpSpPr>
          <a:xfrm>
            <a:off x="772159" y="2875840"/>
            <a:ext cx="3843335" cy="619713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B427ACD-7640-6AA8-09F0-918451C31679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9" name="Group 4">
              <a:extLst>
                <a:ext uri="{FF2B5EF4-FFF2-40B4-BE49-F238E27FC236}">
                  <a16:creationId xmlns:a16="http://schemas.microsoft.com/office/drawing/2014/main" id="{439E3561-F5D8-4FCF-EA2F-EA4DFD5C97C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7C1961BD-A5B7-32CD-D60C-D52079AC24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BE19404F-6A35-4556-41B3-989752DFD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C40264F6-0D0E-836A-11BC-3F95D7715C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">
                <a:extLst>
                  <a:ext uri="{FF2B5EF4-FFF2-40B4-BE49-F238E27FC236}">
                    <a16:creationId xmlns:a16="http://schemas.microsoft.com/office/drawing/2014/main" id="{BD276559-5C90-DB8D-AF41-8C344736C4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9">
                <a:extLst>
                  <a:ext uri="{FF2B5EF4-FFF2-40B4-BE49-F238E27FC236}">
                    <a16:creationId xmlns:a16="http://schemas.microsoft.com/office/drawing/2014/main" id="{50A28DD9-1E41-2EB0-6C09-9426051F6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0">
                <a:extLst>
                  <a:ext uri="{FF2B5EF4-FFF2-40B4-BE49-F238E27FC236}">
                    <a16:creationId xmlns:a16="http://schemas.microsoft.com/office/drawing/2014/main" id="{9B4A9C6D-96E6-2226-959E-8BE0E7C114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1">
                <a:extLst>
                  <a:ext uri="{FF2B5EF4-FFF2-40B4-BE49-F238E27FC236}">
                    <a16:creationId xmlns:a16="http://schemas.microsoft.com/office/drawing/2014/main" id="{5785ECDF-F4F2-BE82-FD3C-8FCF164193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2">
                <a:extLst>
                  <a:ext uri="{FF2B5EF4-FFF2-40B4-BE49-F238E27FC236}">
                    <a16:creationId xmlns:a16="http://schemas.microsoft.com/office/drawing/2014/main" id="{B6B6FE1B-4F8B-D322-5042-F0433CE0D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3">
                <a:extLst>
                  <a:ext uri="{FF2B5EF4-FFF2-40B4-BE49-F238E27FC236}">
                    <a16:creationId xmlns:a16="http://schemas.microsoft.com/office/drawing/2014/main" id="{A2ED44DD-33B2-7E5A-A535-12F588F8E2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EF18FFA5-0FF0-FD67-2DE2-0769D78CE6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76E6E66-67E4-E9BB-B8FA-3882070207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0162D8B8-EB05-A561-5114-C76CC4236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4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0162D8B8-EB05-A561-5114-C76CC4236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873E9A-6B80-4822-81E0-1756A723AB3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758151" y="671332"/>
            <a:ext cx="4814263" cy="2759700"/>
          </a:xfrm>
        </p:spPr>
        <p:txBody>
          <a:bodyPr vert="horz" anchor="b">
            <a:norm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1EABEC-623B-4CB1-888F-8DEA5F90346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758151" y="3721227"/>
            <a:ext cx="4814263" cy="1068990"/>
          </a:xfrm>
        </p:spPr>
        <p:txBody>
          <a:bodyPr/>
          <a:lstStyle>
            <a:lvl1pPr marL="0" indent="0" algn="r">
              <a:spcBef>
                <a:spcPts val="6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1" name="Picture Placeholder 13">
            <a:extLst>
              <a:ext uri="{FF2B5EF4-FFF2-40B4-BE49-F238E27FC236}">
                <a16:creationId xmlns:a16="http://schemas.microsoft.com/office/drawing/2014/main" id="{0CEB502D-4C67-5D92-537D-8BF224E62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24270" y="3503125"/>
            <a:ext cx="557784" cy="2743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968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11631561" cy="4892041"/>
          </a:xfr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59EFFE8-3716-4BBB-A342-1029EC8C2B80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A15A14-1922-42D3-84C1-76AFC9D014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C4B99C4-D801-4B2E-A220-D878827BE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6734A21-9AB6-0585-B798-2888F1F0812B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F3FD7856-2F20-BBE3-DFCF-0A6F3C1B7139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0D0C351-47EE-F77A-527C-16CD01B1B9F7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0" name="Group 4">
              <a:extLst>
                <a:ext uri="{FF2B5EF4-FFF2-40B4-BE49-F238E27FC236}">
                  <a16:creationId xmlns:a16="http://schemas.microsoft.com/office/drawing/2014/main" id="{CF4CA8C1-437F-039C-6281-73716915AC0E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81260065-18CE-5E24-A5FC-DB982FADAF1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6">
                <a:extLst>
                  <a:ext uri="{FF2B5EF4-FFF2-40B4-BE49-F238E27FC236}">
                    <a16:creationId xmlns:a16="http://schemas.microsoft.com/office/drawing/2014/main" id="{897AB64B-3796-6A2A-94C2-438EF65669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7">
                <a:extLst>
                  <a:ext uri="{FF2B5EF4-FFF2-40B4-BE49-F238E27FC236}">
                    <a16:creationId xmlns:a16="http://schemas.microsoft.com/office/drawing/2014/main" id="{D39FCED3-A811-9270-39FF-D174B1370C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3574440F-6120-8441-B134-128CB30450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9">
                <a:extLst>
                  <a:ext uri="{FF2B5EF4-FFF2-40B4-BE49-F238E27FC236}">
                    <a16:creationId xmlns:a16="http://schemas.microsoft.com/office/drawing/2014/main" id="{556490F8-46E4-F243-9254-52174E522C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0">
                <a:extLst>
                  <a:ext uri="{FF2B5EF4-FFF2-40B4-BE49-F238E27FC236}">
                    <a16:creationId xmlns:a16="http://schemas.microsoft.com/office/drawing/2014/main" id="{325DE68C-083F-6645-F913-CD1ADA8164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C09F3F65-F374-BDA5-E0FB-E1777AF1A7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2">
                <a:extLst>
                  <a:ext uri="{FF2B5EF4-FFF2-40B4-BE49-F238E27FC236}">
                    <a16:creationId xmlns:a16="http://schemas.microsoft.com/office/drawing/2014/main" id="{D6923F07-8F5C-DC7D-BF03-B91F77F5C7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4D1B3BB7-20AB-49A7-F4C3-DB3E7CFDF4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4">
                <a:extLst>
                  <a:ext uri="{FF2B5EF4-FFF2-40B4-BE49-F238E27FC236}">
                    <a16:creationId xmlns:a16="http://schemas.microsoft.com/office/drawing/2014/main" id="{757368B1-ACC8-0780-CDEA-6960157567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5">
                <a:extLst>
                  <a:ext uri="{FF2B5EF4-FFF2-40B4-BE49-F238E27FC236}">
                    <a16:creationId xmlns:a16="http://schemas.microsoft.com/office/drawing/2014/main" id="{78F14254-EC07-EC75-D4FC-3510CED8F7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683B389F-82B2-525A-09AB-6280FC6EC728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433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E15FC-6785-47A3-9EB2-4D1B1A41D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B3F5D3-13E6-41C7-9381-B672E35B74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5666" y="1259841"/>
            <a:ext cx="5654638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30A917-31D1-46EE-8F6D-F8101D015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2394" y="1259841"/>
            <a:ext cx="5654638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BCF776-3642-4CB7-8C13-5DB5D8827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2DF592-B809-4085-8AA8-546D0E21FFA0}" type="datetime1">
              <a:rPr lang="en-US" smtClean="0"/>
              <a:t>7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F8D32F-CD1C-41BF-9D2B-67C1F1B77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17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E15FC-6785-47A3-9EB2-4D1B1A41D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B3F5D3-13E6-41C7-9381-B672E35B74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5666" y="1259841"/>
            <a:ext cx="375455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30A917-31D1-46EE-8F6D-F8101D015B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39072" y="1259841"/>
            <a:ext cx="375455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BCF776-3642-4CB7-8C13-5DB5D88275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2DF592-B809-4085-8AA8-546D0E21FFA0}" type="datetime1">
              <a:rPr lang="en-US" smtClean="0"/>
              <a:t>7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F8D32F-CD1C-41BF-9D2B-67C1F1B77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04BC14E9-34DF-4977-AC84-A0E5DE2560D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42478" y="1259841"/>
            <a:ext cx="375455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41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089061-7BF1-402D-BF47-7E5FFD567C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666" y="1167440"/>
            <a:ext cx="5654638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856479-A67F-4D7B-B64E-0F499E39D3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5666" y="2057400"/>
            <a:ext cx="5654638" cy="43586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D73A71-6133-4340-B752-125F948FE8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2394" y="1167440"/>
            <a:ext cx="5654638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B579D9-71BC-460E-AB0B-2A9B60443A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2394" y="2057400"/>
            <a:ext cx="5654638" cy="43586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4E6831-7275-4FB9-AF1B-5CA2B5E79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7912E-A27A-4117-9AC4-1485D498B835}" type="datetime1">
              <a:rPr lang="en-US" smtClean="0"/>
              <a:t>7/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CBB0FD-BEF3-4827-9F2E-797BC9C5B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3CE3726-9C86-40C3-AF5D-859BD2AD8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80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089061-7BF1-402D-BF47-7E5FFD567C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666" y="1167440"/>
            <a:ext cx="3724566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856479-A67F-4D7B-B64E-0F499E39D3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5666" y="2057400"/>
            <a:ext cx="3724566" cy="435864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D73A71-6133-4340-B752-125F948FE8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254066" y="1167440"/>
            <a:ext cx="3724566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B579D9-71BC-460E-AB0B-2A9B60443A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54066" y="2057400"/>
            <a:ext cx="3724566" cy="435864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4E6831-7275-4FB9-AF1B-5CA2B5E79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7912E-A27A-4117-9AC4-1485D498B835}" type="datetime1">
              <a:rPr lang="en-US" smtClean="0"/>
              <a:t>7/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CBB0FD-BEF3-4827-9F2E-797BC9C5B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3CE3726-9C86-40C3-AF5D-859BD2AD8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6B3218B-3A97-44D1-B747-136BDCA599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2466" y="1167440"/>
            <a:ext cx="3724566" cy="823912"/>
          </a:xfrm>
        </p:spPr>
        <p:txBody>
          <a:bodyPr anchor="b"/>
          <a:lstStyle>
            <a:lvl1pPr marL="0" indent="0"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0CC8DFAE-0FB4-4193-ACED-757DF610FDF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66" y="2057400"/>
            <a:ext cx="3724566" cy="435864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92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1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and person kissing&#10;&#10;Description automatically generated with low confidence">
            <a:extLst>
              <a:ext uri="{FF2B5EF4-FFF2-40B4-BE49-F238E27FC236}">
                <a16:creationId xmlns:a16="http://schemas.microsoft.com/office/drawing/2014/main" id="{6B6299A8-A7AD-F96A-C650-7ABF9D9A9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2428240" cy="6858000"/>
          </a:xfrm>
          <a:prstGeom prst="rect">
            <a:avLst/>
          </a:prstGeom>
        </p:spPr>
      </p:pic>
      <p:pic>
        <p:nvPicPr>
          <p:cNvPr id="7" name="Picture 6" descr="A person and person kissing&#10;&#10;Description automatically generated with low confidence">
            <a:extLst>
              <a:ext uri="{FF2B5EF4-FFF2-40B4-BE49-F238E27FC236}">
                <a16:creationId xmlns:a16="http://schemas.microsoft.com/office/drawing/2014/main" id="{EB03E11B-D21F-D5A9-11B6-56B1D8F76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28240" y="0"/>
            <a:ext cx="976376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6623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681" y="486137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389681" y="2782098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492A15B-3B3D-8073-434F-4B514A865EA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©2023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789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209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ject 4">
            <a:extLst>
              <a:ext uri="{FF2B5EF4-FFF2-40B4-BE49-F238E27FC236}">
                <a16:creationId xmlns:a16="http://schemas.microsoft.com/office/drawing/2014/main" id="{1EEF4FA4-4A35-0F9B-6D1E-8521EB10CBE6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78B1EEF7-4C74-1AFF-1E7D-D9B6C1FC5DC6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accent4"/>
                </a:solidFill>
              </a:rPr>
              <a:t>©2023 </a:t>
            </a:r>
            <a:r>
              <a:rPr lang="en-US" dirty="0">
                <a:solidFill>
                  <a:schemeClr val="accent4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accent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3798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3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99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ct 3">
            <a:extLst>
              <a:ext uri="{FF2B5EF4-FFF2-40B4-BE49-F238E27FC236}">
                <a16:creationId xmlns:a16="http://schemas.microsoft.com/office/drawing/2014/main" id="{EB64453A-F60F-2F39-C9E6-7D5802290BDE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C4BDCE2-AC1C-9AC3-E11C-5183D0FC0EAA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accent4"/>
                </a:solidFill>
              </a:rPr>
              <a:t>©2023 </a:t>
            </a:r>
            <a:r>
              <a:rPr lang="en-US" dirty="0">
                <a:solidFill>
                  <a:schemeClr val="accent4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accent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76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5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746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ject 4">
            <a:extLst>
              <a:ext uri="{FF2B5EF4-FFF2-40B4-BE49-F238E27FC236}">
                <a16:creationId xmlns:a16="http://schemas.microsoft.com/office/drawing/2014/main" id="{2AC4CD99-F69B-7976-EA25-2590F2E97F32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FF21CE3-7950-F9BA-3EA3-806A0662113D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accent4"/>
                </a:solidFill>
              </a:rPr>
              <a:t>©2023 </a:t>
            </a:r>
            <a:r>
              <a:rPr lang="en-US" dirty="0">
                <a:solidFill>
                  <a:schemeClr val="accent4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accent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217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/Image_Lanol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909B77C-DF67-5C34-4061-D1DEC45A5A6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accent4"/>
                </a:solidFill>
              </a:rPr>
              <a:t>©2023 </a:t>
            </a:r>
            <a:r>
              <a:rPr lang="en-US" dirty="0">
                <a:solidFill>
                  <a:schemeClr val="accent4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accent4"/>
                </a:solidFill>
              </a:rPr>
              <a:t> </a:t>
            </a:r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4B421709-A370-9EEE-5849-54C023A527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0584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e Title Slide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0162D8B8-EB05-A561-5114-C76CC4236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4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0162D8B8-EB05-A561-5114-C76CC4236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03E6E6A8-2778-0FC4-E1A5-16FF3ADB2A8C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0247ED4B-1DB8-1F9F-7ABC-EEC16923B705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385"/>
            <a:stretch/>
          </p:blipFill>
          <p:spPr>
            <a:xfrm>
              <a:off x="0" y="0"/>
              <a:ext cx="10925908" cy="6858000"/>
            </a:xfrm>
            <a:prstGeom prst="rect">
              <a:avLst/>
            </a:prstGeom>
          </p:spPr>
        </p:pic>
        <p:pic>
          <p:nvPicPr>
            <p:cNvPr id="8" name="object 4">
              <a:extLst>
                <a:ext uri="{FF2B5EF4-FFF2-40B4-BE49-F238E27FC236}">
                  <a16:creationId xmlns:a16="http://schemas.microsoft.com/office/drawing/2014/main" id="{1E4E242F-D3CE-9970-A04C-E209485E0F6C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1923"/>
            <a:stretch/>
          </p:blipFill>
          <p:spPr>
            <a:xfrm flipH="1">
              <a:off x="10922000" y="0"/>
              <a:ext cx="1270000" cy="6858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4873E9A-6B80-4822-81E0-1756A723AB3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7062951" y="254644"/>
            <a:ext cx="4814263" cy="2759700"/>
          </a:xfrm>
        </p:spPr>
        <p:txBody>
          <a:bodyPr vert="horz" anchor="b">
            <a:normAutofit/>
          </a:bodyPr>
          <a:lstStyle>
            <a:lvl1pPr algn="r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1EABEC-623B-4CB1-888F-8DEA5F90346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7062951" y="3304539"/>
            <a:ext cx="4814263" cy="1068990"/>
          </a:xfrm>
        </p:spPr>
        <p:txBody>
          <a:bodyPr/>
          <a:lstStyle>
            <a:lvl1pPr marL="0" indent="0" algn="r">
              <a:spcBef>
                <a:spcPts val="6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E9449E-272B-43D6-899D-33B35E176010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©2023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DD3887D1-4AAB-96A8-AF2B-0BDAC450FD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29070" y="3086437"/>
            <a:ext cx="557784" cy="2743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8BCED68-8545-180C-777F-92E94B608287}"/>
              </a:ext>
            </a:extLst>
          </p:cNvPr>
          <p:cNvGrpSpPr>
            <a:grpSpLocks/>
          </p:cNvGrpSpPr>
          <p:nvPr userDrawn="1"/>
        </p:nvGrpSpPr>
        <p:grpSpPr>
          <a:xfrm>
            <a:off x="9317620" y="6247489"/>
            <a:ext cx="2491542" cy="401745"/>
            <a:chOff x="10356627" y="6436359"/>
            <a:chExt cx="1553433" cy="2504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6A4B308-FAF8-80DF-8ABA-16DF72E605C2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solidFill>
              <a:srgbClr val="6650A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" name="Group 4">
              <a:extLst>
                <a:ext uri="{FF2B5EF4-FFF2-40B4-BE49-F238E27FC236}">
                  <a16:creationId xmlns:a16="http://schemas.microsoft.com/office/drawing/2014/main" id="{84A50556-0542-7ED7-3458-F8E8A3F2ADE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solidFill>
              <a:schemeClr val="accent1"/>
            </a:solidFill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52FA169C-3B15-2E58-3E2C-5B5AEF92A79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432FCA66-3086-E552-7544-CA7F3E1EAD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8AD46A71-470B-0FFF-7584-3D2129737E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419910DF-B5F0-BA36-854D-B24C3D20D2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6924794C-7CC9-93B8-C38F-1F8027BB8D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C6E06005-0FC3-2AE3-CF42-03C54EA052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ABB40C8C-DB55-AA36-5AE9-912FA8FD20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4D68B36-19FD-8780-999B-3F588DDD59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0D7E0D8C-A030-6239-3651-197DC0CBB8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90AF78E1-8DC3-5932-42A7-7CBE5122B0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6B94A2F2-92BE-0E3E-CD6F-16101E46BA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462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/Image_Purple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5A1820B-8676-B487-A8D9-B252F77FA34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8F7596B9-2244-44B8-314B-62BA56EA317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58895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/Image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BA8B032-95CF-7C7F-1375-0560FE4A2689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651FAF4E-F8C8-F2AF-77AE-57167F549D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63159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/Image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759" y="1134320"/>
            <a:ext cx="3754056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176759" y="3430281"/>
            <a:ext cx="3754056" cy="1118569"/>
          </a:xfrm>
          <a:noFill/>
        </p:spPr>
        <p:txBody>
          <a:bodyPr/>
          <a:lstStyle>
            <a:lvl1pPr marL="0" indent="0" algn="ctr">
              <a:spcBef>
                <a:spcPts val="60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BA8B032-95CF-7C7F-1375-0560FE4A2689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651FAF4E-F8C8-F2AF-77AE-57167F549D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6537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Centered_Lanol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514" y="1134320"/>
            <a:ext cx="9552973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319514" y="3430281"/>
            <a:ext cx="9552973" cy="1118569"/>
          </a:xfrm>
          <a:noFill/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909B77C-DF67-5C34-4061-D1DEC45A5A6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accent4"/>
                </a:solidFill>
              </a:rPr>
              <a:t>©2023 </a:t>
            </a:r>
            <a:r>
              <a:rPr lang="en-US" dirty="0">
                <a:solidFill>
                  <a:schemeClr val="accent4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accent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199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Centered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514" y="1134320"/>
            <a:ext cx="9552973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319514" y="3430281"/>
            <a:ext cx="9552973" cy="1118569"/>
          </a:xfrm>
          <a:noFill/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909B77C-DF67-5C34-4061-D1DEC45A5A6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450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Centered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514" y="1134320"/>
            <a:ext cx="9552973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319514" y="3430281"/>
            <a:ext cx="9552973" cy="1118569"/>
          </a:xfrm>
          <a:noFill/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909B77C-DF67-5C34-4061-D1DEC45A5A6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503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Centered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514" y="1134320"/>
            <a:ext cx="9552973" cy="2257063"/>
          </a:xfrm>
          <a:ln w="25400">
            <a:noFill/>
          </a:ln>
        </p:spPr>
        <p:txBody>
          <a:bodyPr vert="horz" anchor="b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B586E-DC02-4CE1-827F-E6DA9382021C}"/>
              </a:ext>
            </a:extLst>
          </p:cNvPr>
          <p:cNvSpPr>
            <a:spLocks noGrp="1"/>
          </p:cNvSpPr>
          <p:nvPr>
            <p:ph type="body" idx="1"/>
          </p:nvPr>
        </p:nvSpPr>
        <p:spPr bwMode="ltGray">
          <a:xfrm>
            <a:off x="1319514" y="3430281"/>
            <a:ext cx="9552973" cy="1118569"/>
          </a:xfrm>
          <a:noFill/>
        </p:spPr>
        <p:txBody>
          <a:bodyPr>
            <a:normAutofit/>
          </a:bodyPr>
          <a:lstStyle>
            <a:lvl1pPr marL="0" indent="0" algn="ctr">
              <a:spcBef>
                <a:spcPts val="600"/>
              </a:spcBef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909B77C-DF67-5C34-4061-D1DEC45A5A6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</a:t>
            </a:r>
            <a:r>
              <a:rPr lang="en-US" dirty="0">
                <a:solidFill>
                  <a:schemeClr val="bg2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5257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595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>
            <a:extLst>
              <a:ext uri="{FF2B5EF4-FFF2-40B4-BE49-F238E27FC236}">
                <a16:creationId xmlns:a16="http://schemas.microsoft.com/office/drawing/2014/main" id="{29102FA7-1CBF-DAF0-83A5-3CD6D7B65D9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73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3F17038-AF53-17B7-A663-76733E614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4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3F17038-AF53-17B7-A663-76733E614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8FAB695-15DA-498E-B50D-7E91A3951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759" y="599440"/>
            <a:ext cx="3754056" cy="1125703"/>
          </a:xfrm>
          <a:ln w="25400">
            <a:noFill/>
          </a:ln>
        </p:spPr>
        <p:txBody>
          <a:bodyPr vert="horz" anchor="ctr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ECE7F86-60CD-5F60-6337-59286237D111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6A94ED4-5696-C5DE-B437-5E2327FA7C7D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743DF34-34A6-DF41-0D9F-053B21D92C38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©2023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770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Right Callout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E5537F6-7AF0-3FA8-4933-7B8D66E8B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12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E5537F6-7AF0-3FA8-4933-7B8D66E8B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 userDrawn="1"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7" y="1259841"/>
            <a:ext cx="768057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3E32A00-D0DD-02FB-6F56-0E910DD1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680574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BC13AB9-CEA8-4F84-CEB9-A390B1DAA6BD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9FEB8BC-2A78-645E-D3A6-4C5350EDA8D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6A1E2C89-3DE7-0032-B927-D36DE08BE57C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086C5294-F9D3-2A6B-554E-797E16148E9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D616E78A-169D-1F2B-3A0F-911D36E134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B042508B-965D-FDE8-EAAD-A4A4A598FC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AEDAF059-8094-EB6A-42C8-0FA2107DF9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A232E258-941E-D0D3-5CC3-A2EB7AF2BC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CD9FCC0D-1812-4E05-63A6-E3E0C95875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05F0C86E-878B-BCFF-C5DC-4542B67970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E8B4E4B-B36A-96F0-66CC-482CCC5D8C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CE5934B5-42DE-80B0-2802-29F1579B74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DFBBC134-9256-667C-020E-646E88F7DA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465E307C-B6DD-A69D-E705-FCB6023F21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56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Right Callout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E5537F6-7AF0-3FA8-4933-7B8D66E8B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12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E5537F6-7AF0-3FA8-4933-7B8D66E8B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 userDrawn="1"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7" y="1259841"/>
            <a:ext cx="768057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3E32A00-D0DD-02FB-6F56-0E910DD1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680574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1272A5-CE1A-10A8-7BE1-357873C2361D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BBC7ED7-48C9-4DFB-2B62-88912E381B38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EAC32F6A-AF98-6D4D-980F-E645C1F6BDFD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82D8FD15-E37C-79D4-9C56-19AD840049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BC7D76A9-D7E2-C590-F191-D766DB629C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D8E8B44A-6C2E-69D9-F448-CF053BB432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C18912AE-2143-7EFC-4928-2A81455DD4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B60959A4-0372-C147-4D21-3324D57FE5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A9C7802C-C389-0233-D82C-F9B7AB6415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B304F3A1-EA57-ACA5-5D77-066E65B0C2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0F5195AB-2288-4694-96E4-17CAB1115A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51BE952A-231F-371F-1F24-23A3E836C8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03123279-D23D-6F56-647F-EB9567941D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C61F5B55-9F87-006A-7978-84E0D104E0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96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e Title Slide_Lanol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16E55D4-ADDA-C212-470D-77C71861664F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©2023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Lansinoh  |  Proprietary and Confidential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B58E59-9B8B-B255-F448-5CA5A8034A3F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DB52734-6D28-4AE3-DA84-F7CC9D57A579}"/>
              </a:ext>
            </a:extLst>
          </p:cNvPr>
          <p:cNvCxnSpPr/>
          <p:nvPr userDrawn="1"/>
        </p:nvCxnSpPr>
        <p:spPr>
          <a:xfrm flipH="1">
            <a:off x="11926531" y="0"/>
            <a:ext cx="0" cy="6858000"/>
          </a:xfrm>
          <a:prstGeom prst="line">
            <a:avLst/>
          </a:prstGeom>
          <a:ln w="63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5C409F4-4E3F-EA68-CA80-524223772716}"/>
              </a:ext>
            </a:extLst>
          </p:cNvPr>
          <p:cNvGrpSpPr>
            <a:grpSpLocks/>
          </p:cNvGrpSpPr>
          <p:nvPr userDrawn="1"/>
        </p:nvGrpSpPr>
        <p:grpSpPr>
          <a:xfrm>
            <a:off x="772159" y="2875840"/>
            <a:ext cx="3843335" cy="619713"/>
            <a:chOff x="10356627" y="6436359"/>
            <a:chExt cx="1553433" cy="250481"/>
          </a:xfrm>
          <a:solidFill>
            <a:schemeClr val="accent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B427ACD-7640-6AA8-09F0-918451C31679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9" name="Group 4">
              <a:extLst>
                <a:ext uri="{FF2B5EF4-FFF2-40B4-BE49-F238E27FC236}">
                  <a16:creationId xmlns:a16="http://schemas.microsoft.com/office/drawing/2014/main" id="{439E3561-F5D8-4FCF-EA2F-EA4DFD5C97C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30" name="Freeform 5">
                <a:extLst>
                  <a:ext uri="{FF2B5EF4-FFF2-40B4-BE49-F238E27FC236}">
                    <a16:creationId xmlns:a16="http://schemas.microsoft.com/office/drawing/2014/main" id="{7C1961BD-A5B7-32CD-D60C-D52079AC24D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BE19404F-6A35-4556-41B3-989752DFD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C40264F6-0D0E-836A-11BC-3F95D7715C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">
                <a:extLst>
                  <a:ext uri="{FF2B5EF4-FFF2-40B4-BE49-F238E27FC236}">
                    <a16:creationId xmlns:a16="http://schemas.microsoft.com/office/drawing/2014/main" id="{BD276559-5C90-DB8D-AF41-8C344736C4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9">
                <a:extLst>
                  <a:ext uri="{FF2B5EF4-FFF2-40B4-BE49-F238E27FC236}">
                    <a16:creationId xmlns:a16="http://schemas.microsoft.com/office/drawing/2014/main" id="{50A28DD9-1E41-2EB0-6C09-9426051F6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0">
                <a:extLst>
                  <a:ext uri="{FF2B5EF4-FFF2-40B4-BE49-F238E27FC236}">
                    <a16:creationId xmlns:a16="http://schemas.microsoft.com/office/drawing/2014/main" id="{9B4A9C6D-96E6-2226-959E-8BE0E7C114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1">
                <a:extLst>
                  <a:ext uri="{FF2B5EF4-FFF2-40B4-BE49-F238E27FC236}">
                    <a16:creationId xmlns:a16="http://schemas.microsoft.com/office/drawing/2014/main" id="{5785ECDF-F4F2-BE82-FD3C-8FCF164193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2">
                <a:extLst>
                  <a:ext uri="{FF2B5EF4-FFF2-40B4-BE49-F238E27FC236}">
                    <a16:creationId xmlns:a16="http://schemas.microsoft.com/office/drawing/2014/main" id="{B6B6FE1B-4F8B-D322-5042-F0433CE0D0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3">
                <a:extLst>
                  <a:ext uri="{FF2B5EF4-FFF2-40B4-BE49-F238E27FC236}">
                    <a16:creationId xmlns:a16="http://schemas.microsoft.com/office/drawing/2014/main" id="{A2ED44DD-33B2-7E5A-A535-12F588F8E2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EF18FFA5-0FF0-FD67-2DE2-0769D78CE6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5">
                <a:extLst>
                  <a:ext uri="{FF2B5EF4-FFF2-40B4-BE49-F238E27FC236}">
                    <a16:creationId xmlns:a16="http://schemas.microsoft.com/office/drawing/2014/main" id="{676E6E66-67E4-E9BB-B8FA-3882070207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0162D8B8-EB05-A561-5114-C76CC4236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4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0162D8B8-EB05-A561-5114-C76CC4236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873E9A-6B80-4822-81E0-1756A723AB3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758151" y="671332"/>
            <a:ext cx="4814263" cy="2759700"/>
          </a:xfrm>
        </p:spPr>
        <p:txBody>
          <a:bodyPr vert="horz" anchor="b">
            <a:normAutofit/>
          </a:bodyPr>
          <a:lstStyle>
            <a:lvl1pPr algn="r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1EABEC-623B-4CB1-888F-8DEA5F90346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758151" y="3721227"/>
            <a:ext cx="4814263" cy="1068990"/>
          </a:xfrm>
        </p:spPr>
        <p:txBody>
          <a:bodyPr/>
          <a:lstStyle>
            <a:lvl1pPr marL="0" indent="0" algn="r">
              <a:spcBef>
                <a:spcPts val="60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1" name="Picture Placeholder 13">
            <a:extLst>
              <a:ext uri="{FF2B5EF4-FFF2-40B4-BE49-F238E27FC236}">
                <a16:creationId xmlns:a16="http://schemas.microsoft.com/office/drawing/2014/main" id="{0CEB502D-4C67-5D92-537D-8BF224E627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24270" y="3503125"/>
            <a:ext cx="557784" cy="2743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36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Right Callou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E5537F6-7AF0-3FA8-4933-7B8D66E8B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12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E5537F6-7AF0-3FA8-4933-7B8D66E8B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 userDrawn="1"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7" y="1259841"/>
            <a:ext cx="768057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3E32A00-D0DD-02FB-6F56-0E910DD1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680574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1272A5-CE1A-10A8-7BE1-357873C2361D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BBC7ED7-48C9-4DFB-2B62-88912E381B38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id="{EAC32F6A-AF98-6D4D-980F-E645C1F6BDFD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82D8FD15-E37C-79D4-9C56-19AD840049D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BC7D76A9-D7E2-C590-F191-D766DB629C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D8E8B44A-6C2E-69D9-F448-CF053BB432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C18912AE-2143-7EFC-4928-2A81455DD4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B60959A4-0372-C147-4D21-3324D57FE5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A9C7802C-C389-0233-D82C-F9B7AB6415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B304F3A1-EA57-ACA5-5D77-066E65B0C2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0F5195AB-2288-4694-96E4-17CAB1115A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51BE952A-231F-371F-1F24-23A3E836C8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03123279-D23D-6F56-647F-EB9567941D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C61F5B55-9F87-006A-7978-84E0D104E0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373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and Content with Right Callout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26BA6EA-9E31-CF6B-19FC-5C71E004B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710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26BA6EA-9E31-CF6B-19FC-5C71E004B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7731888" cy="48920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58688CF-E6F2-4391-B5BB-D7C4371702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7731888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D2250A5E-4D00-C21C-6076-967426E04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731888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7A751E-CB37-4A24-C3F7-18251F71B24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2DB9DE-343F-D140-089E-8E82919AE82A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oup 4">
              <a:extLst>
                <a:ext uri="{FF2B5EF4-FFF2-40B4-BE49-F238E27FC236}">
                  <a16:creationId xmlns:a16="http://schemas.microsoft.com/office/drawing/2014/main" id="{D1D698AA-D2F8-C33E-F48C-244D02EAB44E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C34B42EF-C64A-0960-9120-6B2685A4938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95658154-0A96-3E02-EDB3-E3E436CC22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122F607A-9D0B-FFD4-FAFC-0A4AACF511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9F809EEA-12C1-CF26-033B-6F50C4A86C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EC1E0DE1-3663-EAB9-64F5-D8C57D6556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8CCEFA92-4025-0C80-0110-5EBAB2575A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47B32A12-70E2-8BAB-6A1A-0B7E9D2F29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2">
                <a:extLst>
                  <a:ext uri="{FF2B5EF4-FFF2-40B4-BE49-F238E27FC236}">
                    <a16:creationId xmlns:a16="http://schemas.microsoft.com/office/drawing/2014/main" id="{EA580E87-4196-EC25-1198-A8EBF6CAB6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A6596DCB-5240-F34D-0FE2-4536EC5414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4">
                <a:extLst>
                  <a:ext uri="{FF2B5EF4-FFF2-40B4-BE49-F238E27FC236}">
                    <a16:creationId xmlns:a16="http://schemas.microsoft.com/office/drawing/2014/main" id="{FA71E6CD-1577-8F2F-CE1D-C60FD3ED05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5">
                <a:extLst>
                  <a:ext uri="{FF2B5EF4-FFF2-40B4-BE49-F238E27FC236}">
                    <a16:creationId xmlns:a16="http://schemas.microsoft.com/office/drawing/2014/main" id="{96702E98-B3C8-9B4B-7C87-852E628F69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6347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and Content with Right Callout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26BA6EA-9E31-CF6B-19FC-5C71E004B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710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26BA6EA-9E31-CF6B-19FC-5C71E004B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7731889" cy="48920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58688CF-E6F2-4391-B5BB-D7C4371702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7731888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D2250A5E-4D00-C21C-6076-967426E04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731888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352ECE-02AB-3A09-0E20-67377C7B0262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8CFC1D5-B2E8-6ECE-8005-F83BA84A175D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oup 4">
              <a:extLst>
                <a:ext uri="{FF2B5EF4-FFF2-40B4-BE49-F238E27FC236}">
                  <a16:creationId xmlns:a16="http://schemas.microsoft.com/office/drawing/2014/main" id="{335F7C7E-D227-4503-0C2D-D39E0283F627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222AAB39-1BC6-665F-4329-73250B2B4D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16A13356-2679-B115-BD32-D36B69425C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EA6A2255-5594-C99F-3ADD-142834A706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85E4C88D-5C8E-6609-9792-540BE095D8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7119768D-A3AE-4654-BB9B-188B3622CE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EBCAB857-64AC-27FB-F054-727532AC4C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B274B9E8-E717-3B4B-8DAA-148C3A3889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2">
                <a:extLst>
                  <a:ext uri="{FF2B5EF4-FFF2-40B4-BE49-F238E27FC236}">
                    <a16:creationId xmlns:a16="http://schemas.microsoft.com/office/drawing/2014/main" id="{86605BCC-5773-70E1-9020-1BB4E6838C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126CC54D-8AE1-5870-1A73-997BEFBD82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4">
                <a:extLst>
                  <a:ext uri="{FF2B5EF4-FFF2-40B4-BE49-F238E27FC236}">
                    <a16:creationId xmlns:a16="http://schemas.microsoft.com/office/drawing/2014/main" id="{4F1EC33B-AA49-4576-2A2A-2F922D3102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5">
                <a:extLst>
                  <a:ext uri="{FF2B5EF4-FFF2-40B4-BE49-F238E27FC236}">
                    <a16:creationId xmlns:a16="http://schemas.microsoft.com/office/drawing/2014/main" id="{D0ED128E-8D5E-A4D2-A246-FA79EDCECF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4629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and Content with Right Callou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A26BA6EA-9E31-CF6B-19FC-5C71E004B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710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A26BA6EA-9E31-CF6B-19FC-5C71E004B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901A23A-F3AA-4197-AFD6-F9BF3D472759}"/>
              </a:ext>
            </a:extLst>
          </p:cNvPr>
          <p:cNvSpPr>
            <a:spLocks/>
          </p:cNvSpPr>
          <p:nvPr/>
        </p:nvSpPr>
        <p:spPr bwMode="ltGray">
          <a:xfrm>
            <a:off x="8132065" y="0"/>
            <a:ext cx="405993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7731889" cy="48920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6166AD6-6AD9-4881-B13B-6558C9BBCAF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874103-997B-4829-B863-C3EDB547E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32065" y="0"/>
            <a:ext cx="4059936" cy="6261904"/>
          </a:xfrm>
        </p:spPr>
        <p:txBody>
          <a:bodyPr lIns="228600" rIns="228600" anchor="ctr"/>
          <a:lstStyle>
            <a:lvl1pPr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58688CF-E6F2-4391-B5BB-D7C4371702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7731888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D2250A5E-4D00-C21C-6076-967426E04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7731888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352ECE-02AB-3A09-0E20-67377C7B0262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8CFC1D5-B2E8-6ECE-8005-F83BA84A175D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oup 4">
              <a:extLst>
                <a:ext uri="{FF2B5EF4-FFF2-40B4-BE49-F238E27FC236}">
                  <a16:creationId xmlns:a16="http://schemas.microsoft.com/office/drawing/2014/main" id="{335F7C7E-D227-4503-0C2D-D39E0283F627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222AAB39-1BC6-665F-4329-73250B2B4D3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16A13356-2679-B115-BD32-D36B69425C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EA6A2255-5594-C99F-3ADD-142834A706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85E4C88D-5C8E-6609-9792-540BE095D8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7119768D-A3AE-4654-BB9B-188B3622CE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EBCAB857-64AC-27FB-F054-727532AC4C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B274B9E8-E717-3B4B-8DAA-148C3A3889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2">
                <a:extLst>
                  <a:ext uri="{FF2B5EF4-FFF2-40B4-BE49-F238E27FC236}">
                    <a16:creationId xmlns:a16="http://schemas.microsoft.com/office/drawing/2014/main" id="{86605BCC-5773-70E1-9020-1BB4E6838C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126CC54D-8AE1-5870-1A73-997BEFBD82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4">
                <a:extLst>
                  <a:ext uri="{FF2B5EF4-FFF2-40B4-BE49-F238E27FC236}">
                    <a16:creationId xmlns:a16="http://schemas.microsoft.com/office/drawing/2014/main" id="{4F1EC33B-AA49-4576-2A2A-2F922D3102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5">
                <a:extLst>
                  <a:ext uri="{FF2B5EF4-FFF2-40B4-BE49-F238E27FC236}">
                    <a16:creationId xmlns:a16="http://schemas.microsoft.com/office/drawing/2014/main" id="{D0ED128E-8D5E-A4D2-A246-FA79EDCECF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662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 userDrawn="1"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94B590-2D46-A490-358F-CB7FE1908C66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8E637A-42C7-63EE-AAAE-B90908AF0F2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C2343F5-8975-B855-6C8D-FEA1131F1B9C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10A7F2-EA92-A0A9-2B3D-984A4353F730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FFBFDC16-5FF5-810B-FCD4-795ABF12A1BF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2E978E3D-5A50-11FD-7512-BD8A6F8522E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6">
                <a:extLst>
                  <a:ext uri="{FF2B5EF4-FFF2-40B4-BE49-F238E27FC236}">
                    <a16:creationId xmlns:a16="http://schemas.microsoft.com/office/drawing/2014/main" id="{F852C763-B53F-9247-6D2C-640741A0BF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36333576-1227-8EF3-8F1C-AEF4764C30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EF9740A3-7ED1-88C8-514C-17EA182D34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1EF5EE0F-817E-7569-B926-67D4010C0E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1F585936-D26A-D568-8A0D-6C95A85F13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C4B1B81C-BA14-4440-8BC6-80C0405A81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B585AB1E-0330-B08A-7D37-BFE1941C45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96C04ED2-ABE9-9C70-8232-AC53E82C95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AC474366-4BE2-BFE5-C858-43FD45555B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309BB20F-E96A-5A4D-217E-4E63D5F84C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1537E88-A812-15AD-EA16-76AFB933A161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91049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 userDrawn="1"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94B590-2D46-A490-358F-CB7FE1908C66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8E637A-42C7-63EE-AAAE-B90908AF0F2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344E5AB-E76C-BFD9-4C08-96688F59DC61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36AE5BF-1A7C-AFFF-3992-10F3845D15D8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CE2542C3-E9DB-DA61-7E35-FC29A672A7B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C7D07CEC-5604-367F-CA4F-DC0EB3BB108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6">
                <a:extLst>
                  <a:ext uri="{FF2B5EF4-FFF2-40B4-BE49-F238E27FC236}">
                    <a16:creationId xmlns:a16="http://schemas.microsoft.com/office/drawing/2014/main" id="{AB24359A-1048-7C81-C880-9489617620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0A35A780-8E58-A934-E712-6D8B7BB36E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F43CEB79-91BD-005C-8F42-5681852E22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083C2078-C42D-2EF1-780E-F393F81FAB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F8E9C521-F71A-EFD0-FED9-AC538BE2CF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62A5B875-7536-CCBA-3819-D47F666286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16C3C0AE-B0F1-932E-4A53-0F8141D374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23C1AF13-7738-E008-394D-759678F847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7903B556-3F18-D577-57DA-29FB5A25A9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044C998C-E234-4136-2EAE-AB2F7B653F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101D8AF-F20B-FA1B-B762-846C02AC3BC4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65350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 userDrawn="1"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94B590-2D46-A490-358F-CB7FE1908C66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98E637A-42C7-63EE-AAAE-B90908AF0F2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344E5AB-E76C-BFD9-4C08-96688F59DC61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36AE5BF-1A7C-AFFF-3992-10F3845D15D8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CE2542C3-E9DB-DA61-7E35-FC29A672A7B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C7D07CEC-5604-367F-CA4F-DC0EB3BB108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6">
                <a:extLst>
                  <a:ext uri="{FF2B5EF4-FFF2-40B4-BE49-F238E27FC236}">
                    <a16:creationId xmlns:a16="http://schemas.microsoft.com/office/drawing/2014/main" id="{AB24359A-1048-7C81-C880-9489617620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0A35A780-8E58-A934-E712-6D8B7BB36E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F43CEB79-91BD-005C-8F42-5681852E22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083C2078-C42D-2EF1-780E-F393F81FAB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F8E9C521-F71A-EFD0-FED9-AC538BE2CF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1">
                <a:extLst>
                  <a:ext uri="{FF2B5EF4-FFF2-40B4-BE49-F238E27FC236}">
                    <a16:creationId xmlns:a16="http://schemas.microsoft.com/office/drawing/2014/main" id="{62A5B875-7536-CCBA-3819-D47F666286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16C3C0AE-B0F1-932E-4A53-0F8141D374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3">
                <a:extLst>
                  <a:ext uri="{FF2B5EF4-FFF2-40B4-BE49-F238E27FC236}">
                    <a16:creationId xmlns:a16="http://schemas.microsoft.com/office/drawing/2014/main" id="{23C1AF13-7738-E008-394D-759678F847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4">
                <a:extLst>
                  <a:ext uri="{FF2B5EF4-FFF2-40B4-BE49-F238E27FC236}">
                    <a16:creationId xmlns:a16="http://schemas.microsoft.com/office/drawing/2014/main" id="{7903B556-3F18-D577-57DA-29FB5A25A9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5">
                <a:extLst>
                  <a:ext uri="{FF2B5EF4-FFF2-40B4-BE49-F238E27FC236}">
                    <a16:creationId xmlns:a16="http://schemas.microsoft.com/office/drawing/2014/main" id="{044C998C-E234-4136-2EAE-AB2F7B653F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101D8AF-F20B-FA1B-B762-846C02AC3BC4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14737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029CAF4-24CF-CE69-2159-7B0CEB9B6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01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029CAF4-24CF-CE69-2159-7B0CEB9B6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7943FA-26B3-247A-6E79-D06A6CFA1663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958EC00-2DB2-4746-90E1-154915B1CD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AA338D1-3790-4011-A99A-A78BEA0BE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79E056-F514-BD1B-F2C9-6973C3D74758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7E485DA-FD47-846D-95C1-EE2D46D14C9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9E9F629E-3010-CD25-B1FB-091093C2698C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7C462285-265D-4598-02BF-D73F8751C6BA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BAEBF7C0-96ED-19F5-7766-E6D5FD5C8FD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9F3F724F-4E0F-3334-A7F6-CD468DEDA8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586FDEC7-8523-BA63-11BC-6F0B38E853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">
                <a:extLst>
                  <a:ext uri="{FF2B5EF4-FFF2-40B4-BE49-F238E27FC236}">
                    <a16:creationId xmlns:a16="http://schemas.microsoft.com/office/drawing/2014/main" id="{51F36C75-D830-9FC8-CC5D-508301A4BD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F74BE15A-5052-EB88-F71C-A367D3B2F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EDC254EE-450C-67B5-CA70-657019BF85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88F89BDF-E10C-9877-94F6-E8B9F6E7FB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E7A6D692-AF06-6661-0963-FE6E2A5F38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E8BBB470-646D-1E09-5463-3ADCF72AC0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4">
                <a:extLst>
                  <a:ext uri="{FF2B5EF4-FFF2-40B4-BE49-F238E27FC236}">
                    <a16:creationId xmlns:a16="http://schemas.microsoft.com/office/drawing/2014/main" id="{EA6CE541-E04A-6501-C670-114E8B5018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3C4FDB51-51F0-F3F1-12C9-153184FB04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F9FFF6B-C20C-4744-BA6E-307363B95CFD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68284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029CAF4-24CF-CE69-2159-7B0CEB9B6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01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029CAF4-24CF-CE69-2159-7B0CEB9B6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7943FA-26B3-247A-6E79-D06A6CFA1663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958EC00-2DB2-4746-90E1-154915B1CD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AA338D1-3790-4011-A99A-A78BEA0BE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79E056-F514-BD1B-F2C9-6973C3D74758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3A1E0BF-6E58-B035-D3F5-C6FAB873A08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57947AA-9A65-7CBD-1BF1-2184150D5D49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9E8C8217-1965-67EC-793C-DF5A4CA2F499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EB17B773-933B-1B56-D5E4-8DEC0A4B75F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F3CF1F0-A6E4-80EE-B68C-CD3BF11108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4EE9B38F-4E12-A278-DE1D-44E352347C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">
                <a:extLst>
                  <a:ext uri="{FF2B5EF4-FFF2-40B4-BE49-F238E27FC236}">
                    <a16:creationId xmlns:a16="http://schemas.microsoft.com/office/drawing/2014/main" id="{9CEB334A-BC38-2649-A3C4-A45BB05A65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16C4D9EB-F2E2-9173-915F-1C6719F527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C970DC03-97FF-A174-F7C6-87851E7893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1BDBDD8D-D531-DCAB-2421-57DB7AB9E8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F0BD054-5BF5-A8C5-0B89-29D2DCC405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8154CBD3-1C4A-EDB6-53B2-9BB677C5E7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4">
                <a:extLst>
                  <a:ext uri="{FF2B5EF4-FFF2-40B4-BE49-F238E27FC236}">
                    <a16:creationId xmlns:a16="http://schemas.microsoft.com/office/drawing/2014/main" id="{F123E2DE-6EAA-E173-0CD1-669EB4ED80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4B1B8067-6852-B154-F3E2-AB651FC280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4DE2A38-7A70-0D8E-28C6-7282A7EE127A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9699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029CAF4-24CF-CE69-2159-7B0CEB9B6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01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029CAF4-24CF-CE69-2159-7B0CEB9B6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7943FA-26B3-247A-6E79-D06A6CFA1663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C366C53-99AC-485D-A0AA-D8A8AA7C61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11561366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958EC00-2DB2-4746-90E1-154915B1CD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AA338D1-3790-4011-A99A-A78BEA0BE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79E056-F514-BD1B-F2C9-6973C3D74758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3A1E0BF-6E58-B035-D3F5-C6FAB873A08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57947AA-9A65-7CBD-1BF1-2184150D5D49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7" name="Group 4">
              <a:extLst>
                <a:ext uri="{FF2B5EF4-FFF2-40B4-BE49-F238E27FC236}">
                  <a16:creationId xmlns:a16="http://schemas.microsoft.com/office/drawing/2014/main" id="{9E8C8217-1965-67EC-793C-DF5A4CA2F499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EB17B773-933B-1B56-D5E4-8DEC0A4B75F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F3CF1F0-A6E4-80EE-B68C-CD3BF11108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4EE9B38F-4E12-A278-DE1D-44E352347C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">
                <a:extLst>
                  <a:ext uri="{FF2B5EF4-FFF2-40B4-BE49-F238E27FC236}">
                    <a16:creationId xmlns:a16="http://schemas.microsoft.com/office/drawing/2014/main" id="{9CEB334A-BC38-2649-A3C4-A45BB05A65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16C4D9EB-F2E2-9173-915F-1C6719F527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C970DC03-97FF-A174-F7C6-87851E7893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1BDBDD8D-D531-DCAB-2421-57DB7AB9E8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F0BD054-5BF5-A8C5-0B89-29D2DCC405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8154CBD3-1C4A-EDB6-53B2-9BB677C5E7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4">
                <a:extLst>
                  <a:ext uri="{FF2B5EF4-FFF2-40B4-BE49-F238E27FC236}">
                    <a16:creationId xmlns:a16="http://schemas.microsoft.com/office/drawing/2014/main" id="{F123E2DE-6EAA-E173-0CD1-669EB4ED80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id="{4B1B8067-6852-B154-F3E2-AB651FC280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4DE2A38-7A70-0D8E-28C6-7282A7EE127A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407060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BB9A348B-CC28-C129-E5DA-7481E4B26A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77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BB9A348B-CC28-C129-E5DA-7481E4B26A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D433D01-14BF-4DA5-840C-1F5927B14106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D59DFE-5D0E-44C4-B83F-459B0C45FF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7" y="1442720"/>
            <a:ext cx="11561366" cy="4821446"/>
          </a:xfrm>
        </p:spPr>
        <p:txBody>
          <a:bodyPr anchor="t"/>
          <a:lstStyle>
            <a:lvl1pPr marL="368300" indent="-368300">
              <a:buClr>
                <a:schemeClr val="accent2"/>
              </a:buClr>
              <a:buFont typeface="+mj-lt"/>
              <a:buAutoNum type="arabicPeriod"/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item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D9323C-E3BA-0FB2-9A9F-53FAE2200F56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>
            <a:extLst>
              <a:ext uri="{FF2B5EF4-FFF2-40B4-BE49-F238E27FC236}">
                <a16:creationId xmlns:a16="http://schemas.microsoft.com/office/drawing/2014/main" id="{487E0EB7-2C64-FD26-E6E4-C75E4D6E6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772C27-BA00-9204-3595-711DA3F4072D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3DDA1E-F0D3-4912-3086-418FC6EE2CEA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4C7645D5-53F7-D6DA-ED48-501FE020A9C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FDE798AD-CFE5-952A-B118-4B50DCF0E8A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A46D506B-9600-82E2-A52D-7D6625215B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00600A72-0AE7-EABC-24A8-7F0B972C5C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1A72FD9F-BB92-1157-95AE-69DEB0F0B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21AD992C-D80B-6983-34F9-C3A9DD2D8B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986BBB8A-E375-DA63-4EA5-BB7E9E05BF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0235EAF5-A034-61A2-EFF0-6B8F2FF5CD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09A4484F-EE63-D9C2-8559-B26A2C4532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CC97E94B-C75E-3A63-CE26-EC38F2E89A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0D72E574-79CE-F7D6-381C-18CA4C5668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EBD82895-1F90-57C1-9403-DF3FAD505F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60034EC-9C03-B730-C2C5-3662592ACE97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240512-22B0-6F0B-2FC1-215EEEF715B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50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 and Circles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1C24DD2-3D42-D094-26B5-EA2D36F966BD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269E23-4BDC-0A7D-7353-193557929EEA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C3BBA40-C8C1-CD14-F114-E4B2BC5750A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0AF3EF9-7B09-A606-1518-381E6CF2D68E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" name="Group 4">
              <a:extLst>
                <a:ext uri="{FF2B5EF4-FFF2-40B4-BE49-F238E27FC236}">
                  <a16:creationId xmlns:a16="http://schemas.microsoft.com/office/drawing/2014/main" id="{348E9691-240C-4FAA-40F5-5EBB03F80BF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CCC7AC61-FABE-837A-2C57-6AA0CAE4666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F01893FD-3BC0-0B24-8A44-9D42E0410D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44036BC7-8AE6-FBE0-5AF5-8721A015075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919F754C-C30F-60F6-6E57-40D56FEEFC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C819181C-E32C-C874-F508-B23B10F82F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A147FED5-5E2D-97EF-125F-21A876BC4A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7E652265-8A2C-63B6-6F4D-BF6AD65B4C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E2CF3A04-13FD-12D4-9891-2CD52D23E9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20C06AC1-E6DE-D75E-5A2B-354EDC8D19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407F0C30-BDF0-CF9B-492D-A2F67B4CAA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5F05DEB0-6828-B531-C58D-85CED11667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265C6AF-D2DB-43C6-0046-7127628397DF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96512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 and Circles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1C24DD2-3D42-D094-26B5-EA2D36F966BD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269E23-4BDC-0A7D-7353-193557929EEA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4B632C-49B4-809E-F39D-6D10E3D030DC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E91C9E-1CF4-72A1-2AA4-AFAF8789B76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" name="Group 4">
              <a:extLst>
                <a:ext uri="{FF2B5EF4-FFF2-40B4-BE49-F238E27FC236}">
                  <a16:creationId xmlns:a16="http://schemas.microsoft.com/office/drawing/2014/main" id="{EB406FF3-9A40-2A44-8262-8CDB93EDF0F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174E8D2A-E3BA-85CB-E8B3-C4EFB9623A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974B0444-0601-5D5F-59D9-0FD0A87AC3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71D8CD2E-508B-CEDE-017D-3BB21A709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A95427C8-FC3E-7F83-9A5C-85A4556AD5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9476630C-8A48-0BD2-1D84-05FBA03E3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3175B31E-28CA-0EFE-FD9B-27DE66ECCE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17975EEA-572D-BAD4-CDE9-12AFDF0756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5A7C6CA-5B44-2F3F-07CF-151621DC7C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EBFF42BC-7D3A-EE47-693B-CDE18C288E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D7FA63F6-8EFB-FAC6-5720-AE492423FE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940FD708-12F4-3594-C55C-AEA653EEB2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007A3D5-EE49-1625-542A-94267B339BE8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0255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with Bottom Callout and Circle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11561366" cy="29880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1C24DD2-3D42-D094-26B5-EA2D36F966BD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269E23-4BDC-0A7D-7353-193557929EEA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4B632C-49B4-809E-F39D-6D10E3D030DC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4E91C9E-1CF4-72A1-2AA4-AFAF8789B76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" name="Group 4">
              <a:extLst>
                <a:ext uri="{FF2B5EF4-FFF2-40B4-BE49-F238E27FC236}">
                  <a16:creationId xmlns:a16="http://schemas.microsoft.com/office/drawing/2014/main" id="{EB406FF3-9A40-2A44-8262-8CDB93EDF0F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174E8D2A-E3BA-85CB-E8B3-C4EFB9623A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974B0444-0601-5D5F-59D9-0FD0A87AC3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:a16="http://schemas.microsoft.com/office/drawing/2014/main" id="{71D8CD2E-508B-CEDE-017D-3BB21A709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A95427C8-FC3E-7F83-9A5C-85A4556AD5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:a16="http://schemas.microsoft.com/office/drawing/2014/main" id="{9476630C-8A48-0BD2-1D84-05FBA03E3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3175B31E-28CA-0EFE-FD9B-27DE66ECCE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17975EEA-572D-BAD4-CDE9-12AFDF0756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5A7C6CA-5B44-2F3F-07CF-151621DC7C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EBFF42BC-7D3A-EE47-693B-CDE18C288E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>
                <a:extLst>
                  <a:ext uri="{FF2B5EF4-FFF2-40B4-BE49-F238E27FC236}">
                    <a16:creationId xmlns:a16="http://schemas.microsoft.com/office/drawing/2014/main" id="{D7FA63F6-8EFB-FAC6-5720-AE492423FE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940FD708-12F4-3594-C55C-AEA653EEB2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007A3D5-EE49-1625-542A-94267B339BE8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420813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 and Circles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84BE990-1DBA-42B6-8698-9D9CF61CA7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0CA655-43DD-7786-5B9D-04E29F0B0179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3409EA7-E36C-EE55-9145-6524263A643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37F5CED-965C-0DC6-3988-5D8E0D7AC779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1419A6A-1778-0170-B98A-20CD59EF0006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276CE478-53C8-C590-25D5-AA3FC1AC0EF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3" name="Freeform 5">
                <a:extLst>
                  <a:ext uri="{FF2B5EF4-FFF2-40B4-BE49-F238E27FC236}">
                    <a16:creationId xmlns:a16="http://schemas.microsoft.com/office/drawing/2014/main" id="{EE6DB815-45FA-CDE3-9916-6CB20D4DF19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5ED30C89-2430-DE11-0AD9-F8A5A104A5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7">
                <a:extLst>
                  <a:ext uri="{FF2B5EF4-FFF2-40B4-BE49-F238E27FC236}">
                    <a16:creationId xmlns:a16="http://schemas.microsoft.com/office/drawing/2014/main" id="{2BEEAFE5-CA9F-8DE7-7C01-277F8F1399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">
                <a:extLst>
                  <a:ext uri="{FF2B5EF4-FFF2-40B4-BE49-F238E27FC236}">
                    <a16:creationId xmlns:a16="http://schemas.microsoft.com/office/drawing/2014/main" id="{5EB6CEAB-31E3-1606-9524-4921BC3F70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id="{4946595B-64F2-52FF-E5CB-BC1851D2E0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FCD9592E-AF1E-55D5-826A-F235C1B527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FFF634E4-0FDE-1327-8E12-FF05ACF261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0380EB10-CBC9-E2D9-95D3-BE9C756E3C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A0C1D73E-D5DC-5E11-1150-9BD2E44342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8844F039-A3AD-C5C1-CB32-0A9D0BA8E3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>
                <a:extLst>
                  <a:ext uri="{FF2B5EF4-FFF2-40B4-BE49-F238E27FC236}">
                    <a16:creationId xmlns:a16="http://schemas.microsoft.com/office/drawing/2014/main" id="{E78EE50C-AFCD-28EF-3F98-FB7356EBB1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E8868B6-3A73-4B66-8406-4D7C31130AD4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37245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 and Circles_Ever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84BE990-1DBA-42B6-8698-9D9CF61CA7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0CA655-43DD-7786-5B9D-04E29F0B0179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3409EA7-E36C-EE55-9145-6524263A643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DEAA19E-DAA2-8EAB-089D-80DC614E9576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AFD0F72-713E-A35F-5B42-89662282A905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B06A8651-DD7C-A3E0-322A-95345C05DCDD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3" name="Freeform 5">
                <a:extLst>
                  <a:ext uri="{FF2B5EF4-FFF2-40B4-BE49-F238E27FC236}">
                    <a16:creationId xmlns:a16="http://schemas.microsoft.com/office/drawing/2014/main" id="{C9F8C1B5-6AF9-A977-1FFD-0389FB21BF9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872AAAFD-76CE-EE55-1BD1-D46222B854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7">
                <a:extLst>
                  <a:ext uri="{FF2B5EF4-FFF2-40B4-BE49-F238E27FC236}">
                    <a16:creationId xmlns:a16="http://schemas.microsoft.com/office/drawing/2014/main" id="{42ED3D35-E372-78D7-9AEE-B9565258CC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">
                <a:extLst>
                  <a:ext uri="{FF2B5EF4-FFF2-40B4-BE49-F238E27FC236}">
                    <a16:creationId xmlns:a16="http://schemas.microsoft.com/office/drawing/2014/main" id="{134333F1-CF41-E422-D65F-D556F254C6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id="{FDF605BC-8DB8-1AE3-8226-69D59D4565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1D4CED1E-7598-BCA7-CA75-D418AF0E97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EA13DB0D-FB1A-7EFA-D91E-8A0B3210FB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1EC8083E-47E5-59A3-1FC8-98E9EC201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115355CB-F6F4-C4D4-21F6-CD16463248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8A567CD5-B024-F9CC-C62A-F78DA6D785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>
                <a:extLst>
                  <a:ext uri="{FF2B5EF4-FFF2-40B4-BE49-F238E27FC236}">
                    <a16:creationId xmlns:a16="http://schemas.microsoft.com/office/drawing/2014/main" id="{E7048357-102E-A3A5-28FD-8C291BB5C0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0A518C4-8981-8959-3313-F5BE5A6486C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16497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and Content with Bottom Callout and Circle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45B197-BDA2-4DB6-9378-C7CE57224385}"/>
              </a:ext>
            </a:extLst>
          </p:cNvPr>
          <p:cNvSpPr/>
          <p:nvPr/>
        </p:nvSpPr>
        <p:spPr bwMode="ltGray">
          <a:xfrm>
            <a:off x="0" y="4247909"/>
            <a:ext cx="12192000" cy="26100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5" y="1523999"/>
            <a:ext cx="11561366" cy="26822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1D969CB-7B6E-44F7-8AD9-35FB30223217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D8B71D-0E44-44C3-9D7A-8723258F3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5666" y="4247908"/>
            <a:ext cx="3171464" cy="2106210"/>
          </a:xfrm>
        </p:spPr>
        <p:txBody>
          <a:bodyPr lIns="91440" tIns="0" rIns="91440" anchor="ctr"/>
          <a:lstStyle>
            <a:lvl1pPr>
              <a:spcBef>
                <a:spcPts val="1200"/>
              </a:spcBef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68E1C71-ADD3-406C-894D-33C4AC6C67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79520" y="4480560"/>
            <a:ext cx="1676400" cy="1676400"/>
          </a:xfrm>
          <a:prstGeom prst="ellipse">
            <a:avLst/>
          </a:prstGeom>
          <a:solidFill>
            <a:schemeClr val="accent3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3D79B6F6-5329-488D-9288-94502000CF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640" y="4480560"/>
            <a:ext cx="1676400" cy="1676400"/>
          </a:xfrm>
          <a:prstGeom prst="ellipse">
            <a:avLst/>
          </a:prstGeom>
          <a:solidFill>
            <a:schemeClr val="accent3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AE1E14F-D3BA-4C60-9720-E0C953030F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31760" y="4480560"/>
            <a:ext cx="1676400" cy="1676400"/>
          </a:xfrm>
          <a:prstGeom prst="ellipse">
            <a:avLst/>
          </a:prstGeom>
          <a:solidFill>
            <a:schemeClr val="accent3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3A5117E-6B38-4371-91D6-086FBBFF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7880" y="4480560"/>
            <a:ext cx="1676400" cy="1676400"/>
          </a:xfrm>
          <a:prstGeom prst="ellipse">
            <a:avLst/>
          </a:prstGeom>
          <a:solidFill>
            <a:schemeClr val="accent3"/>
          </a:solidFill>
          <a:ln>
            <a:solidFill>
              <a:schemeClr val="bg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384BE990-1DBA-42B6-8698-9D9CF61CA7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0CA655-43DD-7786-5B9D-04E29F0B0179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3409EA7-E36C-EE55-9145-6524263A643F}"/>
              </a:ext>
            </a:extLst>
          </p:cNvPr>
          <p:cNvCxnSpPr>
            <a:cxnSpLocks/>
          </p:cNvCxnSpPr>
          <p:nvPr userDrawn="1"/>
        </p:nvCxnSpPr>
        <p:spPr>
          <a:xfrm>
            <a:off x="265470" y="4247907"/>
            <a:ext cx="0" cy="2610093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DEAA19E-DAA2-8EAB-089D-80DC614E9576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AFD0F72-713E-A35F-5B42-89662282A905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2" name="Group 4">
              <a:extLst>
                <a:ext uri="{FF2B5EF4-FFF2-40B4-BE49-F238E27FC236}">
                  <a16:creationId xmlns:a16="http://schemas.microsoft.com/office/drawing/2014/main" id="{B06A8651-DD7C-A3E0-322A-95345C05DCDD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23" name="Freeform 5">
                <a:extLst>
                  <a:ext uri="{FF2B5EF4-FFF2-40B4-BE49-F238E27FC236}">
                    <a16:creationId xmlns:a16="http://schemas.microsoft.com/office/drawing/2014/main" id="{C9F8C1B5-6AF9-A977-1FFD-0389FB21BF9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872AAAFD-76CE-EE55-1BD1-D46222B854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7">
                <a:extLst>
                  <a:ext uri="{FF2B5EF4-FFF2-40B4-BE49-F238E27FC236}">
                    <a16:creationId xmlns:a16="http://schemas.microsoft.com/office/drawing/2014/main" id="{42ED3D35-E372-78D7-9AEE-B9565258CC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">
                <a:extLst>
                  <a:ext uri="{FF2B5EF4-FFF2-40B4-BE49-F238E27FC236}">
                    <a16:creationId xmlns:a16="http://schemas.microsoft.com/office/drawing/2014/main" id="{134333F1-CF41-E422-D65F-D556F254C6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id="{FDF605BC-8DB8-1AE3-8226-69D59D4565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1D4CED1E-7598-BCA7-CA75-D418AF0E97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EA13DB0D-FB1A-7EFA-D91E-8A0B3210FB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1EC8083E-47E5-59A3-1FC8-98E9EC2016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115355CB-F6F4-C4D4-21F6-CD16463248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4">
                <a:extLst>
                  <a:ext uri="{FF2B5EF4-FFF2-40B4-BE49-F238E27FC236}">
                    <a16:creationId xmlns:a16="http://schemas.microsoft.com/office/drawing/2014/main" id="{8A567CD5-B024-F9CC-C62A-F78DA6D785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>
                <a:extLst>
                  <a:ext uri="{FF2B5EF4-FFF2-40B4-BE49-F238E27FC236}">
                    <a16:creationId xmlns:a16="http://schemas.microsoft.com/office/drawing/2014/main" id="{E7048357-102E-A3A5-28FD-8C291BB5C0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0A518C4-8981-8959-3313-F5BE5A6486C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26063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1037C0-FD0E-44DB-508C-2410476F0A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978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81037C0-FD0E-44DB-508C-2410476F0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259841"/>
            <a:ext cx="5729854" cy="51511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7FB6162-CC87-4D5D-B6AA-87254390D7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096000" y="0"/>
            <a:ext cx="6096000" cy="6858000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6F090A-9C1D-159F-5A4D-729BFC384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5729854" cy="1053148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06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068463-8C2A-B891-F6DF-F96468D24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107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068463-8C2A-B891-F6DF-F96468D24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5729854" cy="48920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A15A14-1922-42D3-84C1-76AFC9D014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5729854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D92B15DA-8A80-4D30-8D16-A4C0C26CF7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096000" y="0"/>
            <a:ext cx="6096000" cy="6858000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7B15E2-CEDA-D3B2-7158-00A0684C40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66" y="125413"/>
            <a:ext cx="5729854" cy="1053148"/>
          </a:xfrm>
        </p:spPr>
        <p:txBody>
          <a:bodyPr vert="horz"/>
          <a:lstStyle/>
          <a:p>
            <a:r>
              <a:rPr lang="en-US" dirty="0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694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Image &amp; Key Point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3643D16-53AD-E0BE-6E79-81305DBFB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2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3643D16-53AD-E0BE-6E79-81305DBFB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A63E625-3665-470C-8A2C-0EAD40A010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507668" y="1053297"/>
            <a:ext cx="5085243" cy="1053296"/>
          </a:xfrm>
          <a:solidFill>
            <a:schemeClr val="bg2"/>
          </a:solidFill>
          <a:ln w="25400">
            <a:noFill/>
          </a:ln>
          <a:effectLst>
            <a:outerShdw dist="6350" dir="5400000" algn="t" rotWithShape="0">
              <a:schemeClr val="accent1"/>
            </a:outerShdw>
          </a:effectLst>
        </p:spPr>
        <p:txBody>
          <a:bodyPr vert="horz"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6507668" y="2265680"/>
            <a:ext cx="5085243" cy="39217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7421DA8C-02CF-6304-2B50-F8E4E214638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38F42CC-6591-46D4-87AA-E40501FC86D1}" type="datetime1">
              <a:rPr lang="en-US" smtClean="0"/>
              <a:pPr/>
              <a:t>7/4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69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Image &amp; Key Point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3643D16-53AD-E0BE-6E79-81305DBFB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3348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3643D16-53AD-E0BE-6E79-81305DBFB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A63E625-3665-470C-8A2C-0EAD40A010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507668" y="1053297"/>
            <a:ext cx="5085243" cy="1053296"/>
          </a:xfrm>
          <a:solidFill>
            <a:schemeClr val="accent1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>
            <a:norm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6507668" y="2265680"/>
            <a:ext cx="5085243" cy="3921760"/>
          </a:xfr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CC020-893F-404E-A070-DC5193700E57}" type="datetime1">
              <a:rPr lang="en-US" smtClean="0"/>
              <a:t>7/4/2023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A800DD1-BCCE-F5F4-CBF7-AD27EAF8371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55CD0B0-3298-2793-38B6-4F898C7F53BD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oup 4">
              <a:extLst>
                <a:ext uri="{FF2B5EF4-FFF2-40B4-BE49-F238E27FC236}">
                  <a16:creationId xmlns:a16="http://schemas.microsoft.com/office/drawing/2014/main" id="{9B344C05-5FAC-8661-4434-CDC9D394AB0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C96EFBD2-AEA8-3CE8-EDFC-92807E52C0C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7535066D-D92E-17D7-3AAA-EDDF653E80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011A7769-A730-986B-B234-6D2065B52E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5643C353-D919-8993-CB2D-9B3BB3AFAE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E1B3D530-32B6-2384-01E9-3537DD4802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8EC7A3D3-5AFC-E66A-8161-15966D20EA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4DC2AE57-E2CB-0703-39E1-086848D479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C2102C24-8DA5-63D9-B850-6FA190B0C4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E620D2F1-4BA2-CB7C-A4B4-52C3286134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52B017E3-F093-AE35-04D3-3461362B9C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D63C345C-A24D-DCA3-F62D-6866B0E3EF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52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anol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BB9A348B-CC28-C129-E5DA-7481E4B26A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43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BB9A348B-CC28-C129-E5DA-7481E4B26A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433D01-14BF-4DA5-840C-1F5927B14106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D59DFE-5D0E-44C4-B83F-459B0C45FF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7" y="1442720"/>
            <a:ext cx="11561366" cy="4821446"/>
          </a:xfrm>
        </p:spPr>
        <p:txBody>
          <a:bodyPr anchor="t"/>
          <a:lstStyle>
            <a:lvl1pPr marL="368300" indent="-368300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item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87E0EB7-2C64-FD26-E6E4-C75E4D6E6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039D5A-85F7-CF84-2568-8564497913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67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Image &amp; Key Point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3643D16-53AD-E0BE-6E79-81305DBFB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492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3643D16-53AD-E0BE-6E79-81305DBFB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A63E625-3665-470C-8A2C-0EAD40A010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507668" y="1053297"/>
            <a:ext cx="5085243" cy="1053296"/>
          </a:xfrm>
          <a:solidFill>
            <a:schemeClr val="accent4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>
            <a:norm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6507668" y="2265680"/>
            <a:ext cx="5085243" cy="3921760"/>
          </a:xfrm>
        </p:spPr>
        <p:txBody>
          <a:bodyPr/>
          <a:lstStyle>
            <a:lvl1pPr>
              <a:buClr>
                <a:schemeClr val="accent3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CC020-893F-404E-A070-DC5193700E57}" type="datetime1">
              <a:rPr lang="en-US" smtClean="0"/>
              <a:t>7/4/2023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793201-A84D-A2B5-56F1-0894822C3AE9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26FB9AB-9773-A56F-9295-C75FB53EE400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oup 4">
              <a:extLst>
                <a:ext uri="{FF2B5EF4-FFF2-40B4-BE49-F238E27FC236}">
                  <a16:creationId xmlns:a16="http://schemas.microsoft.com/office/drawing/2014/main" id="{6316CD9A-0885-C65E-6DC3-43BE7DA00BB1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9392CD33-9740-E160-D355-216AD8186C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2628E762-DA0A-2A16-DF9B-8666C35E3D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AD276D39-7FF8-A88A-DC8D-EA192BEB6A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71C6D2F9-663D-61E1-F427-965B1B38CF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E484D2D6-1293-8B9D-48B9-7D494B070F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B23185E5-220C-79D3-B0B1-D41FC32D89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BD523786-FBA3-C2FE-4694-A33FCCB8D1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AF5F40DB-7F20-006E-9C7A-075307C270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B43A98C2-35DB-68E5-4D96-F2E1E55FB2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8AAC8CB5-B01C-61FF-E94F-D8F0663D64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645C071A-1AA1-D74D-03CA-7D5ED138EA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143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Image &amp; Key Point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33643D16-53AD-E0BE-6E79-81305DBFB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492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33643D16-53AD-E0BE-6E79-81305DBFB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A63E625-3665-470C-8A2C-0EAD40A010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6507668" y="1053297"/>
            <a:ext cx="5085243" cy="1053296"/>
          </a:xfrm>
          <a:solidFill>
            <a:schemeClr val="accent3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>
            <a:norm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6507668" y="2265680"/>
            <a:ext cx="5085243" cy="3921760"/>
          </a:xfr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CC020-893F-404E-A070-DC5193700E57}" type="datetime1">
              <a:rPr lang="en-US" smtClean="0"/>
              <a:t>7/4/2023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793201-A84D-A2B5-56F1-0894822C3AE9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26FB9AB-9773-A56F-9295-C75FB53EE400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oup 4">
              <a:extLst>
                <a:ext uri="{FF2B5EF4-FFF2-40B4-BE49-F238E27FC236}">
                  <a16:creationId xmlns:a16="http://schemas.microsoft.com/office/drawing/2014/main" id="{6316CD9A-0885-C65E-6DC3-43BE7DA00BB1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9392CD33-9740-E160-D355-216AD8186C7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2628E762-DA0A-2A16-DF9B-8666C35E3D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AD276D39-7FF8-A88A-DC8D-EA192BEB6A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71C6D2F9-663D-61E1-F427-965B1B38CF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E484D2D6-1293-8B9D-48B9-7D494B070F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B23185E5-220C-79D3-B0B1-D41FC32D89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BD523786-FBA3-C2FE-4694-A33FCCB8D1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AF5F40DB-7F20-006E-9C7A-075307C270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B43A98C2-35DB-68E5-4D96-F2E1E55FB2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8AAC8CB5-B01C-61FF-E94F-D8F0663D64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645C071A-1AA1-D74D-03CA-7D5ED138EA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143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Image &amp; Key Point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44421B-C6A5-4007-38F6-1E4302EBDA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257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44421B-C6A5-4007-38F6-1E4302EBD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24250" y="1053297"/>
            <a:ext cx="5389357" cy="1053296"/>
          </a:xfrm>
          <a:solidFill>
            <a:schemeClr val="bg2"/>
          </a:solidFill>
          <a:ln w="25400">
            <a:noFill/>
          </a:ln>
          <a:effectLst>
            <a:outerShdw dist="6350" dir="5400000" algn="t" rotWithShape="0">
              <a:schemeClr val="accent1"/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24250" y="2265680"/>
            <a:ext cx="5389364" cy="39217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FF5098-1489-40A3-AB3C-F7433B06E1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73540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Image &amp; Key Point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44421B-C6A5-4007-38F6-1E4302EBDA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0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44421B-C6A5-4007-38F6-1E4302EBD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24250" y="1053297"/>
            <a:ext cx="5389357" cy="1053296"/>
          </a:xfrm>
          <a:solidFill>
            <a:schemeClr val="accent1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24250" y="2265680"/>
            <a:ext cx="5389364" cy="3921760"/>
          </a:xfr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FF5098-1489-40A3-AB3C-F7433B06E1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2B2EE6-9F9E-25D1-B131-789FD049138E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8159DED-3BD6-E8BE-3DBF-019930EA0B72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30309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Image &amp; Key Point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44421B-C6A5-4007-38F6-1E4302EBDA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81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44421B-C6A5-4007-38F6-1E4302EBD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24250" y="1053297"/>
            <a:ext cx="5389357" cy="1053296"/>
          </a:xfrm>
          <a:solidFill>
            <a:schemeClr val="accent4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24250" y="2265680"/>
            <a:ext cx="5389364" cy="3921760"/>
          </a:xfrm>
        </p:spPr>
        <p:txBody>
          <a:bodyPr/>
          <a:lstStyle>
            <a:lvl1pPr>
              <a:buClr>
                <a:schemeClr val="accent3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3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FF5098-1489-40A3-AB3C-F7433B06E1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2B2EE6-9F9E-25D1-B131-789FD049138E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A6CBE58-94C2-1B82-53DE-F898254FA596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72520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Right Image &amp; Key Point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44421B-C6A5-4007-38F6-1E4302EBDA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81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44421B-C6A5-4007-38F6-1E4302EBD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24250" y="1053297"/>
            <a:ext cx="5389357" cy="1053296"/>
          </a:xfrm>
          <a:solidFill>
            <a:schemeClr val="accent3"/>
          </a:solidFill>
          <a:ln w="25400">
            <a:noFill/>
          </a:ln>
          <a:effectLst>
            <a:outerShdw dist="6350" dir="5400000" algn="t" rotWithShape="0">
              <a:schemeClr val="bg2"/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24250" y="2265680"/>
            <a:ext cx="5389364" cy="3921760"/>
          </a:xfr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4FF5098-1489-40A3-AB3C-F7433B06E1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2B2EE6-9F9E-25D1-B131-789FD049138E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6A6CBE58-94C2-1B82-53DE-F898254FA596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43856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Quote/Image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875818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tx1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642CF4-17ED-4B97-9EE6-4ACD00BD3589}"/>
              </a:ext>
            </a:extLst>
          </p:cNvPr>
          <p:cNvSpPr/>
          <p:nvPr/>
        </p:nvSpPr>
        <p:spPr bwMode="black">
          <a:xfrm>
            <a:off x="2716187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13D1D-99DF-61AA-6159-0D3DAB3B67FF}"/>
              </a:ext>
            </a:extLst>
          </p:cNvPr>
          <p:cNvCxnSpPr>
            <a:cxnSpLocks/>
          </p:cNvCxnSpPr>
          <p:nvPr userDrawn="1"/>
        </p:nvCxnSpPr>
        <p:spPr>
          <a:xfrm>
            <a:off x="3043394" y="1736203"/>
            <a:ext cx="0" cy="717630"/>
          </a:xfrm>
          <a:prstGeom prst="line">
            <a:avLst/>
          </a:prstGeom>
          <a:ln w="127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671C6F4-C178-2307-1F72-5FF1DA4CF02C}"/>
              </a:ext>
            </a:extLst>
          </p:cNvPr>
          <p:cNvSpPr>
            <a:spLocks/>
          </p:cNvSpPr>
          <p:nvPr userDrawn="1"/>
        </p:nvSpPr>
        <p:spPr>
          <a:xfrm>
            <a:off x="231648" y="0"/>
            <a:ext cx="11983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19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Quote/Imag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875818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642CF4-17ED-4B97-9EE6-4ACD00BD3589}"/>
              </a:ext>
            </a:extLst>
          </p:cNvPr>
          <p:cNvSpPr/>
          <p:nvPr/>
        </p:nvSpPr>
        <p:spPr bwMode="black">
          <a:xfrm>
            <a:off x="2716187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13D1D-99DF-61AA-6159-0D3DAB3B67FF}"/>
              </a:ext>
            </a:extLst>
          </p:cNvPr>
          <p:cNvCxnSpPr>
            <a:cxnSpLocks/>
          </p:cNvCxnSpPr>
          <p:nvPr userDrawn="1"/>
        </p:nvCxnSpPr>
        <p:spPr>
          <a:xfrm>
            <a:off x="3043394" y="1736203"/>
            <a:ext cx="0" cy="71763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61462A5-AE0A-E3CD-AED5-1EAB1CB3E4E5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62134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Quote/Image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875818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642CF4-17ED-4B97-9EE6-4ACD00BD3589}"/>
              </a:ext>
            </a:extLst>
          </p:cNvPr>
          <p:cNvSpPr/>
          <p:nvPr/>
        </p:nvSpPr>
        <p:spPr bwMode="black">
          <a:xfrm>
            <a:off x="2716187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13D1D-99DF-61AA-6159-0D3DAB3B67FF}"/>
              </a:ext>
            </a:extLst>
          </p:cNvPr>
          <p:cNvCxnSpPr>
            <a:cxnSpLocks/>
          </p:cNvCxnSpPr>
          <p:nvPr userDrawn="1"/>
        </p:nvCxnSpPr>
        <p:spPr>
          <a:xfrm>
            <a:off x="3043394" y="1736203"/>
            <a:ext cx="0" cy="71763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C408F9D-9E8C-FA9F-98C0-70C5BD8508D6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36953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Quote/Image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875818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5995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642CF4-17ED-4B97-9EE6-4ACD00BD3589}"/>
              </a:ext>
            </a:extLst>
          </p:cNvPr>
          <p:cNvSpPr/>
          <p:nvPr/>
        </p:nvSpPr>
        <p:spPr bwMode="black">
          <a:xfrm>
            <a:off x="2716187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13D1D-99DF-61AA-6159-0D3DAB3B67FF}"/>
              </a:ext>
            </a:extLst>
          </p:cNvPr>
          <p:cNvCxnSpPr>
            <a:cxnSpLocks/>
          </p:cNvCxnSpPr>
          <p:nvPr userDrawn="1"/>
        </p:nvCxnSpPr>
        <p:spPr>
          <a:xfrm>
            <a:off x="3043394" y="1736203"/>
            <a:ext cx="0" cy="71763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C408F9D-9E8C-FA9F-98C0-70C5BD8508D6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8181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BB9A348B-CC28-C129-E5DA-7481E4B26A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294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BB9A348B-CC28-C129-E5DA-7481E4B26A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433D01-14BF-4DA5-840C-1F5927B14106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D59DFE-5D0E-44C4-B83F-459B0C45FF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667" y="1442720"/>
            <a:ext cx="11561366" cy="4821446"/>
          </a:xfrm>
        </p:spPr>
        <p:txBody>
          <a:bodyPr anchor="t"/>
          <a:lstStyle>
            <a:lvl1pPr marL="368300" indent="-368300">
              <a:buClr>
                <a:schemeClr val="accent3"/>
              </a:buClr>
              <a:buFont typeface="+mj-lt"/>
              <a:buAutoNum type="arabicPeriod"/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genda item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87E0EB7-2C64-FD26-E6E4-C75E4D6E6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BFF9BF-6D90-8392-EB35-5A6EB7911D04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BE952A77-1C1E-6916-CE2F-A7B0E6506D9A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7BB2EC8-24C7-310A-780C-D19CCC550DA2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BA23AE59-142F-2AE2-0A47-CF3F6C1F489F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1099EDBB-036A-0833-9B1B-D4D67CC6E0F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5CCF3605-9A64-BBB7-59EE-C51FCAF75B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58429F14-79E8-362D-5CC9-DDAD8D4BA7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D19A1402-2C10-ED22-2D5D-93BC38CD40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9939EA85-180E-5344-EC38-203FD74503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45D8FEF4-7B95-8CA1-E496-D37BC16125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1">
                <a:extLst>
                  <a:ext uri="{FF2B5EF4-FFF2-40B4-BE49-F238E27FC236}">
                    <a16:creationId xmlns:a16="http://schemas.microsoft.com/office/drawing/2014/main" id="{038C203C-40A1-D346-B0B0-08868D85F3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">
                <a:extLst>
                  <a:ext uri="{FF2B5EF4-FFF2-40B4-BE49-F238E27FC236}">
                    <a16:creationId xmlns:a16="http://schemas.microsoft.com/office/drawing/2014/main" id="{4391A3F5-EAAE-B147-83AA-4017906C10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">
                <a:extLst>
                  <a:ext uri="{FF2B5EF4-FFF2-40B4-BE49-F238E27FC236}">
                    <a16:creationId xmlns:a16="http://schemas.microsoft.com/office/drawing/2014/main" id="{06EC7054-ACA8-F551-3E83-05A6C67FF8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81CFA8B4-8B39-051B-5283-D881BCF733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C5B3A9F8-2931-0FBC-27F2-FE9FA95D19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572AB11-4582-6F25-CB31-986B85F1D7C9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08894C-A08E-4749-41C8-F356DAB81E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5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Quote/Image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6974832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tx1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2E5820-5F2C-ABDD-1A52-791D0F81F849}"/>
              </a:ext>
            </a:extLst>
          </p:cNvPr>
          <p:cNvSpPr/>
          <p:nvPr userDrawn="1"/>
        </p:nvSpPr>
        <p:spPr bwMode="black">
          <a:xfrm>
            <a:off x="8815203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B136860-E47C-2495-EE74-AC6317C83B1F}"/>
              </a:ext>
            </a:extLst>
          </p:cNvPr>
          <p:cNvCxnSpPr>
            <a:cxnSpLocks/>
          </p:cNvCxnSpPr>
          <p:nvPr userDrawn="1"/>
        </p:nvCxnSpPr>
        <p:spPr>
          <a:xfrm>
            <a:off x="9142410" y="1736203"/>
            <a:ext cx="0" cy="717630"/>
          </a:xfrm>
          <a:prstGeom prst="line">
            <a:avLst/>
          </a:prstGeom>
          <a:ln w="127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D5E4CF-647C-0225-A53E-EBB5ED3F526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38F42CC-6591-46D4-87AA-E40501FC86D1}" type="datetime1">
              <a:rPr lang="en-US" smtClean="0"/>
              <a:pPr/>
              <a:t>7/4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1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Quote/Image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6974832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CE168A-B2AF-4438-AEAF-186011C54D7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8F42CC-6591-46D4-87AA-E40501FC86D1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2E5820-5F2C-ABDD-1A52-791D0F81F849}"/>
              </a:ext>
            </a:extLst>
          </p:cNvPr>
          <p:cNvSpPr/>
          <p:nvPr userDrawn="1"/>
        </p:nvSpPr>
        <p:spPr bwMode="black">
          <a:xfrm>
            <a:off x="8815203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B136860-E47C-2495-EE74-AC6317C83B1F}"/>
              </a:ext>
            </a:extLst>
          </p:cNvPr>
          <p:cNvCxnSpPr>
            <a:cxnSpLocks/>
          </p:cNvCxnSpPr>
          <p:nvPr userDrawn="1"/>
        </p:nvCxnSpPr>
        <p:spPr>
          <a:xfrm>
            <a:off x="9142410" y="1736203"/>
            <a:ext cx="0" cy="71763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D2633A56-EB67-E31F-DEF8-295453570756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2FCE4C7-91D8-F7E0-CE53-B3667A38027D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C41D6D73-428F-5A6A-07EE-FCFBF7EA95A5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B9BCB1F5-172C-8DC4-CABA-624E5C3B7E9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4A1FCD17-C81F-5128-CEFF-EE482EE76B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AC4CE358-C3F6-666B-FEEE-740B7A5F2D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ABC06D4A-C2CF-08C8-DE5E-568F678479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7AC2DD09-E29C-4835-E140-A55ED7DE00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1F109B56-F83C-447A-B647-D3FA365234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F2858554-0479-A076-2712-5C70611532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B7A0203F-FE42-70C6-DA0F-EBFD7630B8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463E1CFF-5086-7C9D-2A57-B5FD70EEBB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F61432E5-3AA5-5D01-3E8C-2D3BBE69D3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0F493E7F-FE81-2644-79B7-694C4F12B1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212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Quote/Image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6974832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CE168A-B2AF-4438-AEAF-186011C54D7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8F42CC-6591-46D4-87AA-E40501FC86D1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2E5820-5F2C-ABDD-1A52-791D0F81F849}"/>
              </a:ext>
            </a:extLst>
          </p:cNvPr>
          <p:cNvSpPr/>
          <p:nvPr userDrawn="1"/>
        </p:nvSpPr>
        <p:spPr bwMode="black">
          <a:xfrm>
            <a:off x="8815203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B136860-E47C-2495-EE74-AC6317C83B1F}"/>
              </a:ext>
            </a:extLst>
          </p:cNvPr>
          <p:cNvCxnSpPr>
            <a:cxnSpLocks/>
          </p:cNvCxnSpPr>
          <p:nvPr userDrawn="1"/>
        </p:nvCxnSpPr>
        <p:spPr>
          <a:xfrm>
            <a:off x="9142410" y="1736203"/>
            <a:ext cx="0" cy="71763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E41D42D5-FB90-DE98-0AFF-76CC3B777368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EC9570D-526A-6BF8-5CDB-9A073E32C2D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79FCBE0D-3CD1-3DB6-8588-6F6E22AE06D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FF043345-4432-A720-29E8-B83A927743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8AF33EB1-C910-5312-BEA0-1CF7B5B806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D7E2290-330A-3F77-54A7-4C48B87464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2D5F1F85-2AAC-39D6-5F99-C5DF969FFF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3A210DC0-A8B8-BC49-886F-731E5FB3D4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D976340-BBF3-FA97-1A29-6A982A7146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D29A6C24-4A3F-C8D5-4B8F-C26027FBB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ACBA1E54-5876-0AF8-8D7B-84C6843F6B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EBF9B3C8-0EF0-33DE-5CAA-25D75E7484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C1D67B61-3C25-5F16-697D-055C726DDD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8D8B1BF6-541A-0D69-AB19-B7877A9474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881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Quote/Image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B8E808-02CA-4B87-87F1-C2BFB705EA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6974832" y="2650603"/>
            <a:ext cx="4344364" cy="3265564"/>
          </a:xfrm>
          <a:ln w="25400">
            <a:noFill/>
          </a:ln>
        </p:spPr>
        <p:txBody>
          <a:bodyPr lIns="182880" rIns="182880" anchor="t">
            <a:normAutofit/>
          </a:bodyPr>
          <a:lstStyle>
            <a:lvl1pPr marL="0" indent="0" algn="ctr">
              <a:buNone/>
              <a:defRPr sz="2400" i="1">
                <a:solidFill>
                  <a:schemeClr val="bg2"/>
                </a:solidFill>
                <a:latin typeface="+mj-lt"/>
              </a:defRPr>
            </a:lvl1pPr>
            <a:lvl2pPr marL="219075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DA3529D-6A22-4F1D-BF2B-394AB7B471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3921"/>
            <a:ext cx="6096005" cy="6861921"/>
          </a:xfr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CE168A-B2AF-4438-AEAF-186011C54D7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8F42CC-6591-46D4-87AA-E40501FC86D1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2E5820-5F2C-ABDD-1A52-791D0F81F849}"/>
              </a:ext>
            </a:extLst>
          </p:cNvPr>
          <p:cNvSpPr/>
          <p:nvPr userDrawn="1"/>
        </p:nvSpPr>
        <p:spPr bwMode="black">
          <a:xfrm>
            <a:off x="8815203" y="948127"/>
            <a:ext cx="663622" cy="515464"/>
          </a:xfrm>
          <a:custGeom>
            <a:avLst/>
            <a:gdLst/>
            <a:ahLst/>
            <a:cxnLst/>
            <a:rect l="l" t="t" r="r" b="b"/>
            <a:pathLst>
              <a:path w="1275922" h="991065">
                <a:moveTo>
                  <a:pt x="1225479" y="0"/>
                </a:moveTo>
                <a:lnTo>
                  <a:pt x="1225479" y="72698"/>
                </a:lnTo>
                <a:cubicBezTo>
                  <a:pt x="1122614" y="110283"/>
                  <a:pt x="1042003" y="169381"/>
                  <a:pt x="983647" y="249992"/>
                </a:cubicBezTo>
                <a:cubicBezTo>
                  <a:pt x="925291" y="330602"/>
                  <a:pt x="896113" y="414427"/>
                  <a:pt x="896113" y="501467"/>
                </a:cubicBezTo>
                <a:cubicBezTo>
                  <a:pt x="896113" y="520260"/>
                  <a:pt x="899080" y="534107"/>
                  <a:pt x="905015" y="543009"/>
                </a:cubicBezTo>
                <a:cubicBezTo>
                  <a:pt x="908971" y="548943"/>
                  <a:pt x="913422" y="551910"/>
                  <a:pt x="918367" y="551910"/>
                </a:cubicBezTo>
                <a:cubicBezTo>
                  <a:pt x="923313" y="551910"/>
                  <a:pt x="930731" y="548449"/>
                  <a:pt x="940622" y="541525"/>
                </a:cubicBezTo>
                <a:cubicBezTo>
                  <a:pt x="972272" y="518776"/>
                  <a:pt x="1012330" y="507401"/>
                  <a:pt x="1060796" y="507401"/>
                </a:cubicBezTo>
                <a:cubicBezTo>
                  <a:pt x="1117174" y="507401"/>
                  <a:pt x="1167123" y="530398"/>
                  <a:pt x="1210642" y="576390"/>
                </a:cubicBezTo>
                <a:cubicBezTo>
                  <a:pt x="1254162" y="622383"/>
                  <a:pt x="1275922" y="677030"/>
                  <a:pt x="1275922" y="740331"/>
                </a:cubicBezTo>
                <a:cubicBezTo>
                  <a:pt x="1275922" y="806600"/>
                  <a:pt x="1250948" y="864956"/>
                  <a:pt x="1200999" y="915400"/>
                </a:cubicBezTo>
                <a:cubicBezTo>
                  <a:pt x="1151050" y="965843"/>
                  <a:pt x="1090468" y="991065"/>
                  <a:pt x="1019254" y="991065"/>
                </a:cubicBezTo>
                <a:cubicBezTo>
                  <a:pt x="936171" y="991065"/>
                  <a:pt x="864462" y="956941"/>
                  <a:pt x="804128" y="888694"/>
                </a:cubicBezTo>
                <a:cubicBezTo>
                  <a:pt x="743793" y="820447"/>
                  <a:pt x="713626" y="728957"/>
                  <a:pt x="713626" y="614223"/>
                </a:cubicBezTo>
                <a:cubicBezTo>
                  <a:pt x="713626" y="480696"/>
                  <a:pt x="754673" y="361017"/>
                  <a:pt x="836768" y="255184"/>
                </a:cubicBezTo>
                <a:cubicBezTo>
                  <a:pt x="918862" y="149352"/>
                  <a:pt x="1048432" y="64291"/>
                  <a:pt x="1225479" y="0"/>
                </a:cubicBezTo>
                <a:close/>
                <a:moveTo>
                  <a:pt x="511852" y="0"/>
                </a:moveTo>
                <a:lnTo>
                  <a:pt x="511852" y="72698"/>
                </a:lnTo>
                <a:cubicBezTo>
                  <a:pt x="408988" y="110283"/>
                  <a:pt x="328377" y="169381"/>
                  <a:pt x="270021" y="249992"/>
                </a:cubicBezTo>
                <a:cubicBezTo>
                  <a:pt x="211665" y="330602"/>
                  <a:pt x="182487" y="414427"/>
                  <a:pt x="182487" y="501467"/>
                </a:cubicBezTo>
                <a:cubicBezTo>
                  <a:pt x="182487" y="520260"/>
                  <a:pt x="185454" y="534107"/>
                  <a:pt x="191388" y="543009"/>
                </a:cubicBezTo>
                <a:cubicBezTo>
                  <a:pt x="195345" y="548943"/>
                  <a:pt x="199796" y="551910"/>
                  <a:pt x="204741" y="551910"/>
                </a:cubicBezTo>
                <a:cubicBezTo>
                  <a:pt x="209686" y="551910"/>
                  <a:pt x="217105" y="548449"/>
                  <a:pt x="226996" y="541525"/>
                </a:cubicBezTo>
                <a:cubicBezTo>
                  <a:pt x="258646" y="518776"/>
                  <a:pt x="298704" y="507401"/>
                  <a:pt x="347170" y="507401"/>
                </a:cubicBezTo>
                <a:cubicBezTo>
                  <a:pt x="403548" y="507401"/>
                  <a:pt x="453496" y="530398"/>
                  <a:pt x="497016" y="576390"/>
                </a:cubicBezTo>
                <a:cubicBezTo>
                  <a:pt x="540536" y="622383"/>
                  <a:pt x="562296" y="677030"/>
                  <a:pt x="562296" y="740331"/>
                </a:cubicBezTo>
                <a:cubicBezTo>
                  <a:pt x="562296" y="806600"/>
                  <a:pt x="537321" y="864956"/>
                  <a:pt x="487373" y="915400"/>
                </a:cubicBezTo>
                <a:cubicBezTo>
                  <a:pt x="437424" y="965843"/>
                  <a:pt x="376842" y="991065"/>
                  <a:pt x="305628" y="991065"/>
                </a:cubicBezTo>
                <a:cubicBezTo>
                  <a:pt x="222545" y="991065"/>
                  <a:pt x="150836" y="956941"/>
                  <a:pt x="90502" y="888694"/>
                </a:cubicBezTo>
                <a:cubicBezTo>
                  <a:pt x="30167" y="820447"/>
                  <a:pt x="0" y="728957"/>
                  <a:pt x="0" y="614223"/>
                </a:cubicBezTo>
                <a:cubicBezTo>
                  <a:pt x="0" y="480696"/>
                  <a:pt x="41047" y="361017"/>
                  <a:pt x="123142" y="255184"/>
                </a:cubicBezTo>
                <a:cubicBezTo>
                  <a:pt x="205236" y="149352"/>
                  <a:pt x="334806" y="64291"/>
                  <a:pt x="511852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B136860-E47C-2495-EE74-AC6317C83B1F}"/>
              </a:ext>
            </a:extLst>
          </p:cNvPr>
          <p:cNvCxnSpPr>
            <a:cxnSpLocks/>
          </p:cNvCxnSpPr>
          <p:nvPr userDrawn="1"/>
        </p:nvCxnSpPr>
        <p:spPr>
          <a:xfrm>
            <a:off x="9142410" y="1736203"/>
            <a:ext cx="0" cy="71763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E41D42D5-FB90-DE98-0AFF-76CC3B777368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EC9570D-526A-6BF8-5CDB-9A073E32C2D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79FCBE0D-3CD1-3DB6-8588-6F6E22AE06D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FF043345-4432-A720-29E8-B83A927743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8AF33EB1-C910-5312-BEA0-1CF7B5B806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ED7E2290-330A-3F77-54A7-4C48B87464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2D5F1F85-2AAC-39D6-5F99-C5DF969FFF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3A210DC0-A8B8-BC49-886F-731E5FB3D4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0">
                <a:extLst>
                  <a:ext uri="{FF2B5EF4-FFF2-40B4-BE49-F238E27FC236}">
                    <a16:creationId xmlns:a16="http://schemas.microsoft.com/office/drawing/2014/main" id="{ED976340-BBF3-FA97-1A29-6A982A7146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D29A6C24-4A3F-C8D5-4B8F-C26027FBBD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ACBA1E54-5876-0AF8-8D7B-84C6843F6B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EBF9B3C8-0EF0-33DE-5CAA-25D75E7484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4">
                <a:extLst>
                  <a:ext uri="{FF2B5EF4-FFF2-40B4-BE49-F238E27FC236}">
                    <a16:creationId xmlns:a16="http://schemas.microsoft.com/office/drawing/2014/main" id="{C1D67B61-3C25-5F16-697D-055C726DDD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5">
                <a:extLst>
                  <a:ext uri="{FF2B5EF4-FFF2-40B4-BE49-F238E27FC236}">
                    <a16:creationId xmlns:a16="http://schemas.microsoft.com/office/drawing/2014/main" id="{8D8B1BF6-541A-0D69-AB19-B7877A9474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50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9DE8B-9E2B-41B8-AB92-E4C93766215A}" type="datetime1">
              <a:rPr lang="en-US" smtClean="0"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97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E3B8F8-F8DD-F7FF-F3AF-1F27C51CB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857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E3B8F8-F8DD-F7FF-F3AF-1F27C51CB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1F9DE8B-9E2B-41B8-AB92-E4C93766215A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BF5107-52DF-8958-1C9B-B44F32F04E11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5EFFEDE7-DB8E-C686-0E44-0199133CE62C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2A561AC-D336-7DD4-8910-20BD021F9E94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" name="Group 4">
              <a:extLst>
                <a:ext uri="{FF2B5EF4-FFF2-40B4-BE49-F238E27FC236}">
                  <a16:creationId xmlns:a16="http://schemas.microsoft.com/office/drawing/2014/main" id="{D0028C9D-23A4-D0F8-922E-BF4C23879812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180478BE-0D66-F006-878B-49268C7B6CC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76AF2C8F-CFF2-AEBD-F460-0EB921C45F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68228A04-6E8A-958A-3CD2-2E09F5176D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11F41F20-C6FF-EF6B-E688-5856966A6A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A4338888-C2FA-5734-0D12-A65346AA06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E7F8B361-0EE3-BEE6-8EAE-48487FB5B8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6A48489C-A801-A765-BD86-CB475151E9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B5CD0535-37FA-7FCE-C1C9-62F94C6C8B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C3E91C7A-BB84-0DBF-CB9A-CB393BBAED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8ED7F3EF-B7EA-8AB3-A8C0-7CB306C648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68837A4B-5CDB-2F92-9551-BEC520F99D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E800211-3473-EB0A-6734-869B9618148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238453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E3B8F8-F8DD-F7FF-F3AF-1F27C51CB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857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1F9DE8B-9E2B-41B8-AB92-E4C93766215A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BF5107-52DF-8958-1C9B-B44F32F04E11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81C4E04-0863-97E5-3B0B-D0517E2BC998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1D3530-69F0-A604-9712-2E4C8A36589B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" name="Group 4">
              <a:extLst>
                <a:ext uri="{FF2B5EF4-FFF2-40B4-BE49-F238E27FC236}">
                  <a16:creationId xmlns:a16="http://schemas.microsoft.com/office/drawing/2014/main" id="{1E0434E2-818B-ADC4-54D4-9C30DD3F96A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B4C5746B-DF3B-ED04-0A06-44800358E5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8C420005-8C13-1072-C74D-04ECD26285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7E7A58F8-0888-C2B1-4C41-5E1E6DD10E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B4152B98-3052-E3D4-0120-64D1F4444B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4D15DBAC-55A4-95DB-D18A-FB6FD26F4C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069D5EB2-CC99-41F7-7C29-1F0954E02D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30BFBE9A-1382-F99A-FCD0-52546ED87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7AF0B5EE-7B69-152D-A0C5-58FA2AD06A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76F430CE-46F9-B1DC-CF12-4D7E61D6F8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CE113309-08D2-641A-CF1E-93B483F7F3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479D94D6-D8DF-ACA9-DA5B-A2A357BDD5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4D745FB-E39F-E1D8-7FCD-4FE856CF828C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83079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Subtitle Only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61A73-1487-455E-B067-8E153FE98DFB}" type="datetime1">
              <a:rPr lang="en-US" smtClean="0"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EC2375C-9429-49CB-AE58-F82E31F5E0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</p:spTree>
    <p:extLst>
      <p:ext uri="{BB962C8B-B14F-4D97-AF65-F5344CB8AC3E}">
        <p14:creationId xmlns:p14="http://schemas.microsoft.com/office/powerpoint/2010/main" val="417062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Only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DD460-3F91-5998-A554-0069E408C8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809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DD460-3F91-5998-A554-0069E408C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AC61A73-1487-455E-B067-8E153FE98DFB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EC2375C-9429-49CB-AE58-F82E31F5E0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CC0DE12-2481-1541-21E8-A5EC4B12237B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E6AF679B-BA09-6652-4305-8A26A66B810B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BDFA279-567C-2869-06B2-4D936C10FA40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oup 4">
              <a:extLst>
                <a:ext uri="{FF2B5EF4-FFF2-40B4-BE49-F238E27FC236}">
                  <a16:creationId xmlns:a16="http://schemas.microsoft.com/office/drawing/2014/main" id="{846F2865-385D-DF62-762C-D77C4F54BBC6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823E4A00-D39B-8E94-3E72-EFC28CBA645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C11EBD2D-0151-71DB-2ABF-B94BCC8F42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1E8C3F48-0845-452E-6ED5-D8E0522369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DFDCBC25-E360-E07C-0A2A-6C518611DB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FD839226-61EF-55E6-FEDC-0DC513DE23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D8D8945A-0CB6-22B8-D0B3-09A12E67BF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213A2EA0-5398-F27B-39DE-E57013A420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6D4EFEC4-9B36-55A8-0E16-A98F15D611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4BF2728E-2592-D4F9-DA08-1EADCF41AF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D3D9E6CE-900E-5939-F4FF-7CE3DCF3DF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8691EF93-A1B1-F053-975D-6214AD2F7D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80DEECC-6A4F-6C43-9043-70C9B956F365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80633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 Only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DD460-3F91-5998-A554-0069E408C8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809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85AEA4-CDA7-4E56-B23C-E1452414A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2B5AF2-2155-4820-9219-8B947333E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AC61A73-1487-455E-B067-8E153FE98DFB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EF115-08D7-4F7D-830A-2871AC802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EC2375C-9429-49CB-AE58-F82E31F5E0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CC0DE12-2481-1541-21E8-A5EC4B12237B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8E26620B-727E-63D4-F76B-BB00896BEFFD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A31EAA-FD7C-B175-A891-154D039F3E97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oup 4">
              <a:extLst>
                <a:ext uri="{FF2B5EF4-FFF2-40B4-BE49-F238E27FC236}">
                  <a16:creationId xmlns:a16="http://schemas.microsoft.com/office/drawing/2014/main" id="{1772651E-F99B-57C5-1BF3-7741D3599526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6" name="Freeform 5">
                <a:extLst>
                  <a:ext uri="{FF2B5EF4-FFF2-40B4-BE49-F238E27FC236}">
                    <a16:creationId xmlns:a16="http://schemas.microsoft.com/office/drawing/2014/main" id="{4FA183E1-3AEC-65DA-D118-6C9CA68E461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:a16="http://schemas.microsoft.com/office/drawing/2014/main" id="{F8F534C4-97AC-D74E-94A5-D5A588FF56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:a16="http://schemas.microsoft.com/office/drawing/2014/main" id="{72C5E40E-4DDC-9CDF-F97F-E4EAA23AC4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:a16="http://schemas.microsoft.com/office/drawing/2014/main" id="{6BC05DB9-872A-8ED9-2988-0241417217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>
                <a:extLst>
                  <a:ext uri="{FF2B5EF4-FFF2-40B4-BE49-F238E27FC236}">
                    <a16:creationId xmlns:a16="http://schemas.microsoft.com/office/drawing/2014/main" id="{24E6FA43-7707-A4A8-37BD-C142DD8F79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>
                <a:extLst>
                  <a:ext uri="{FF2B5EF4-FFF2-40B4-BE49-F238E27FC236}">
                    <a16:creationId xmlns:a16="http://schemas.microsoft.com/office/drawing/2014/main" id="{EFBC2A79-0FE7-43E9-D7FD-7246133232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>
                <a:extLst>
                  <a:ext uri="{FF2B5EF4-FFF2-40B4-BE49-F238E27FC236}">
                    <a16:creationId xmlns:a16="http://schemas.microsoft.com/office/drawing/2014/main" id="{FB7BD34E-646B-65F7-88DB-B4D6480023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7C0672A6-0657-8BB3-6DD3-BC21B9B0BC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3">
                <a:extLst>
                  <a:ext uri="{FF2B5EF4-FFF2-40B4-BE49-F238E27FC236}">
                    <a16:creationId xmlns:a16="http://schemas.microsoft.com/office/drawing/2014/main" id="{999F6EB6-93AE-0FEA-7D17-AEBF338B5B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">
                <a:extLst>
                  <a:ext uri="{FF2B5EF4-FFF2-40B4-BE49-F238E27FC236}">
                    <a16:creationId xmlns:a16="http://schemas.microsoft.com/office/drawing/2014/main" id="{F1FD8B66-60CD-A21D-65DD-0CA14E1CDC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F103C4CC-1A2F-A9DE-02E8-B08F77A904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4667F3C-63F3-8998-2DC8-97735056599E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73958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5A7C4E-AFA8-E9B0-D550-349FB6BE8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F42CC-6591-46D4-87AA-E40501FC86D1}" type="datetime1">
              <a:rPr lang="en-US" smtClean="0"/>
              <a:t>7/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5371EA-539F-8B9E-FF73-00E2A180D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08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_Lanol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9CD47-14C8-438A-A66A-FFDA4B941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43396-ABC0-4B09-B200-40D5BBE342B8}" type="datetime1">
              <a:rPr lang="en-US" smtClean="0"/>
              <a:t>7/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3E16A7-704C-4055-8FA4-395E4A11C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24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9CD47-14C8-438A-A66A-FFDA4B941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A243396-ABC0-4B09-B200-40D5BBE342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3E16A7-704C-4055-8FA4-395E4A11C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158780-4878-1527-9BD9-3799A2A2C53C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3A4C1340-D256-EA42-BDF5-ED749510C685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3E72A3D-911D-7A09-37CF-9CB46237297E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56ADE023-8917-91A6-2F2F-53D3282AD969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68F34CF1-47D6-C61E-FA6B-DAC5826F6FE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168186DE-E47C-E504-7441-C194ED4266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861BD98D-084F-6A7C-F0DB-CFAD468BB6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9D4B91A2-D46B-39D9-3A28-9764D6E9C0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5E6336D6-D109-6B54-264A-C47FC16179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D3DB7824-3880-0812-5366-129CEBAD80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6A28A3F9-2EBA-175E-9A73-0F41870207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DA593519-D301-3810-6BCD-52C7789B99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0EBE4CD1-F177-38B1-EB1A-DE7E6EAB79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2F217A9B-A369-8926-1EA2-B241061005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C21065AC-2F8C-DC5F-468C-11BE378296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A14BD13-380A-A176-86F4-777AE17CED71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13765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Ever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9CD47-14C8-438A-A66A-FFDA4B941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A243396-ABC0-4B09-B200-40D5BBE342B8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3E16A7-704C-4055-8FA4-395E4A11C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158780-4878-1527-9BD9-3799A2A2C53C}"/>
              </a:ext>
            </a:extLst>
          </p:cNvPr>
          <p:cNvCxnSpPr>
            <a:cxnSpLocks/>
          </p:cNvCxnSpPr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3E2476F6-9F9D-6109-9964-8EE2184CF3F3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B89FE5E-765F-FCB2-573C-F02FB2719A7E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" name="Group 4">
              <a:extLst>
                <a:ext uri="{FF2B5EF4-FFF2-40B4-BE49-F238E27FC236}">
                  <a16:creationId xmlns:a16="http://schemas.microsoft.com/office/drawing/2014/main" id="{438CAA72-ED5F-68EF-A31C-198CF89EAE2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015D540E-F297-12A4-B963-763AF9F6CE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5C2B94CF-6EF7-0771-FA23-5D6250AFF5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55752622-692F-1227-DC07-D94481476E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EF3BF43D-AE09-0B1B-3077-4430CDCB6D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E8B744CE-B10E-52B5-3DB9-BDBA9CE6A3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6B18DB93-B53A-73FD-9200-5C3139FC2F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AD9A1072-8215-182E-E5CC-91F416E02E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8BC3C0B1-8E2B-682E-A28B-C9EB737721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56152CA0-188D-4DBA-7A8B-93ED948AD9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A3535D3E-D325-4868-E50E-1AC4EF69F6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F945DA20-2079-12D7-3853-DD34D9DECF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8AFF86D-6CE9-F249-0B93-81C3CD8EC473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328288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5CD0F63-6195-4C2C-BE42-550A0E0A23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24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_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B4FE1-4101-482F-ACEC-35687E129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433D01-14BF-4DA5-840C-1F5927B14106}" type="datetime1">
              <a:rPr lang="en-US" smtClean="0"/>
              <a:pPr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68DE71F-C4B9-12B7-590D-14AABA45C063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8AF94C2A-2869-9CF9-A6B6-9ABEA736FC6B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  <a:solidFill>
            <a:schemeClr val="bg2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AD9A69C-B01A-82EE-0825-3591AE9D0B95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grpFill/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1" name="Group 4">
              <a:extLst>
                <a:ext uri="{FF2B5EF4-FFF2-40B4-BE49-F238E27FC236}">
                  <a16:creationId xmlns:a16="http://schemas.microsoft.com/office/drawing/2014/main" id="{F8F0AA8E-74D4-540D-DBEE-1DDC94E208D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grpFill/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91D91C70-128E-62A3-2618-F8779F252A1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F7929F02-60CF-8CF6-CA05-60EC31AAD7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E149E9F1-E9B7-C5D5-2240-43AF3E638B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24F128B9-0E82-D80C-008A-A96B94E225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5333672F-62DB-E2BE-4794-B3A6DC9FA6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F478C2C2-76A0-3238-CF05-AC03DA10EF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1">
                <a:extLst>
                  <a:ext uri="{FF2B5EF4-FFF2-40B4-BE49-F238E27FC236}">
                    <a16:creationId xmlns:a16="http://schemas.microsoft.com/office/drawing/2014/main" id="{4B2786FC-19C2-DD7E-1310-8F02341261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2">
                <a:extLst>
                  <a:ext uri="{FF2B5EF4-FFF2-40B4-BE49-F238E27FC236}">
                    <a16:creationId xmlns:a16="http://schemas.microsoft.com/office/drawing/2014/main" id="{354C729E-9B2F-F5C8-1232-4C6108F9C4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3">
                <a:extLst>
                  <a:ext uri="{FF2B5EF4-FFF2-40B4-BE49-F238E27FC236}">
                    <a16:creationId xmlns:a16="http://schemas.microsoft.com/office/drawing/2014/main" id="{F0E32D20-EE29-EE88-3001-74F248F23D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4">
                <a:extLst>
                  <a:ext uri="{FF2B5EF4-FFF2-40B4-BE49-F238E27FC236}">
                    <a16:creationId xmlns:a16="http://schemas.microsoft.com/office/drawing/2014/main" id="{5306890B-6AD7-2D3B-AA7F-35383F08C1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5">
                <a:extLst>
                  <a:ext uri="{FF2B5EF4-FFF2-40B4-BE49-F238E27FC236}">
                    <a16:creationId xmlns:a16="http://schemas.microsoft.com/office/drawing/2014/main" id="{5FF7F6FA-05E3-5477-DB6E-81A361A81D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E8415D2-9BA0-913B-9D71-D8A9EC751085}"/>
              </a:ext>
            </a:extLst>
          </p:cNvPr>
          <p:cNvSpPr txBox="1"/>
          <p:nvPr userDrawn="1"/>
        </p:nvSpPr>
        <p:spPr>
          <a:xfrm>
            <a:off x="318810" y="6490642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©2023 Lansinoh  |  Proprietary and Confidential  |  ‹#› </a:t>
            </a:r>
          </a:p>
        </p:txBody>
      </p:sp>
    </p:spTree>
    <p:extLst>
      <p:ext uri="{BB962C8B-B14F-4D97-AF65-F5344CB8AC3E}">
        <p14:creationId xmlns:p14="http://schemas.microsoft.com/office/powerpoint/2010/main" val="57616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/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A43EF8-BD93-4609-8C4A-CB737B109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666" y="1523999"/>
            <a:ext cx="11631561" cy="489204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9B38B-B384-41B4-9930-00490AF51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EFFE8-3716-4BBB-A342-1029EC8C2B80}" type="datetime1">
              <a:rPr lang="en-US" smtClean="0"/>
              <a:t>7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73B7-C76B-4CC5-AB44-AD8018C36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3A15A14-1922-42D3-84C1-76AFC9D014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666" y="976079"/>
            <a:ext cx="11631561" cy="49712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 Content Goes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C4B99C4-D801-4B2E-A220-D878827BE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84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6AAF6E6-DD04-5575-577F-B4E2FB3589B7}"/>
              </a:ext>
            </a:extLst>
          </p:cNvPr>
          <p:cNvGraphicFramePr>
            <a:graphicFrameLocks noChangeAspect="1"/>
          </p:cNvGraphicFramePr>
          <p:nvPr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771184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425" imgH="424" progId="TCLayout.ActiveDocument.1">
                  <p:embed/>
                </p:oleObj>
              </mc:Choice>
              <mc:Fallback>
                <p:oleObj name="think-cell Slide" r:id="rId76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6AAF6E6-DD04-5575-577F-B4E2FB3589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A13A15-0676-49DF-9AC2-C325E7D6A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6" y="125413"/>
            <a:ext cx="11561366" cy="1053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ABD061-3E01-4F29-9239-311EC68042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666" y="1259841"/>
            <a:ext cx="11561366" cy="5151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F3FC89-6AE3-4FB2-8AFB-0073A8BE1F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00990" y="6490643"/>
            <a:ext cx="822960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F38F42CC-6591-46D4-87AA-E40501FC86D1}" type="datetime1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71A574-5B6E-4971-A572-D7238320B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4560" y="6490643"/>
            <a:ext cx="5262880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DD5EF8-DA91-4F96-BD96-39D230320520}"/>
              </a:ext>
            </a:extLst>
          </p:cNvPr>
          <p:cNvSpPr txBox="1"/>
          <p:nvPr/>
        </p:nvSpPr>
        <p:spPr>
          <a:xfrm>
            <a:off x="318810" y="6490643"/>
            <a:ext cx="3000969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>
              <a:defRPr sz="900">
                <a:solidFill>
                  <a:prstClr val="black">
                    <a:lumMod val="50000"/>
                    <a:lumOff val="50000"/>
                  </a:prstClr>
                </a:solidFill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©2023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Lansinoh  |  Proprietary and Confidential  |  </a:t>
            </a:r>
            <a:fld id="{8E5642BE-62F9-4E1C-ACA7-2D124A620D01}" type="slidenum">
              <a:rPr lang="en-US" smtClean="0">
                <a:solidFill>
                  <a:schemeClr val="tx1"/>
                </a:solidFill>
                <a:cs typeface="Calibri" panose="020F0502020204030204" pitchFamily="34" charset="0"/>
              </a:rPr>
              <a:t>‹Nr.›</a:t>
            </a:fld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EFA3631-E787-82D3-1D1F-2DB59DBB8FDA}"/>
              </a:ext>
            </a:extLst>
          </p:cNvPr>
          <p:cNvCxnSpPr/>
          <p:nvPr userDrawn="1"/>
        </p:nvCxnSpPr>
        <p:spPr>
          <a:xfrm>
            <a:off x="265470" y="0"/>
            <a:ext cx="0" cy="6858000"/>
          </a:xfrm>
          <a:prstGeom prst="line">
            <a:avLst/>
          </a:prstGeom>
          <a:ln w="1270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648A733-C53C-735B-5B06-A24D2987DC2B}"/>
              </a:ext>
            </a:extLst>
          </p:cNvPr>
          <p:cNvGrpSpPr/>
          <p:nvPr userDrawn="1"/>
        </p:nvGrpSpPr>
        <p:grpSpPr>
          <a:xfrm>
            <a:off x="10356627" y="6436359"/>
            <a:ext cx="1553433" cy="250481"/>
            <a:chOff x="10356627" y="6436359"/>
            <a:chExt cx="1553433" cy="250481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A3386F1-3E9D-4EB3-364F-53943F67B67D}"/>
                </a:ext>
              </a:extLst>
            </p:cNvPr>
            <p:cNvSpPr/>
            <p:nvPr userDrawn="1"/>
          </p:nvSpPr>
          <p:spPr>
            <a:xfrm>
              <a:off x="10653931" y="6464226"/>
              <a:ext cx="1256129" cy="192936"/>
            </a:xfrm>
            <a:custGeom>
              <a:avLst/>
              <a:gdLst>
                <a:gd name="connsiteX0" fmla="*/ 2766124 w 5221097"/>
                <a:gd name="connsiteY0" fmla="*/ 68517 h 801941"/>
                <a:gd name="connsiteX1" fmla="*/ 2766124 w 5221097"/>
                <a:gd name="connsiteY1" fmla="*/ 68517 h 801941"/>
                <a:gd name="connsiteX2" fmla="*/ 2699957 w 5221097"/>
                <a:gd name="connsiteY2" fmla="*/ 124396 h 801941"/>
                <a:gd name="connsiteX3" fmla="*/ 2766124 w 5221097"/>
                <a:gd name="connsiteY3" fmla="*/ 176848 h 801941"/>
                <a:gd name="connsiteX4" fmla="*/ 2832290 w 5221097"/>
                <a:gd name="connsiteY4" fmla="*/ 123254 h 801941"/>
                <a:gd name="connsiteX5" fmla="*/ 2766124 w 5221097"/>
                <a:gd name="connsiteY5" fmla="*/ 68517 h 801941"/>
                <a:gd name="connsiteX6" fmla="*/ 4727004 w 5221097"/>
                <a:gd name="connsiteY6" fmla="*/ 223647 h 801941"/>
                <a:gd name="connsiteX7" fmla="*/ 4578731 w 5221097"/>
                <a:gd name="connsiteY7" fmla="*/ 249873 h 801941"/>
                <a:gd name="connsiteX8" fmla="*/ 4494339 w 5221097"/>
                <a:gd name="connsiteY8" fmla="*/ 303467 h 801941"/>
                <a:gd name="connsiteX9" fmla="*/ 4494339 w 5221097"/>
                <a:gd name="connsiteY9" fmla="*/ 12573 h 801941"/>
                <a:gd name="connsiteX10" fmla="*/ 4481767 w 5221097"/>
                <a:gd name="connsiteY10" fmla="*/ 0 h 801941"/>
                <a:gd name="connsiteX11" fmla="*/ 4398518 w 5221097"/>
                <a:gd name="connsiteY11" fmla="*/ 0 h 801941"/>
                <a:gd name="connsiteX12" fmla="*/ 4385945 w 5221097"/>
                <a:gd name="connsiteY12" fmla="*/ 12573 h 801941"/>
                <a:gd name="connsiteX13" fmla="*/ 4385945 w 5221097"/>
                <a:gd name="connsiteY13" fmla="*/ 770001 h 801941"/>
                <a:gd name="connsiteX14" fmla="*/ 4398518 w 5221097"/>
                <a:gd name="connsiteY14" fmla="*/ 782574 h 801941"/>
                <a:gd name="connsiteX15" fmla="*/ 4481767 w 5221097"/>
                <a:gd name="connsiteY15" fmla="*/ 782574 h 801941"/>
                <a:gd name="connsiteX16" fmla="*/ 4494339 w 5221097"/>
                <a:gd name="connsiteY16" fmla="*/ 770001 h 801941"/>
                <a:gd name="connsiteX17" fmla="*/ 4494339 w 5221097"/>
                <a:gd name="connsiteY17" fmla="*/ 524764 h 801941"/>
                <a:gd name="connsiteX18" fmla="*/ 4593590 w 5221097"/>
                <a:gd name="connsiteY18" fmla="*/ 342265 h 801941"/>
                <a:gd name="connsiteX19" fmla="*/ 4709922 w 5221097"/>
                <a:gd name="connsiteY19" fmla="*/ 319469 h 801941"/>
                <a:gd name="connsiteX20" fmla="*/ 4853687 w 5221097"/>
                <a:gd name="connsiteY20" fmla="*/ 361696 h 801941"/>
                <a:gd name="connsiteX21" fmla="*/ 4903851 w 5221097"/>
                <a:gd name="connsiteY21" fmla="*/ 496316 h 801941"/>
                <a:gd name="connsiteX22" fmla="*/ 4903851 w 5221097"/>
                <a:gd name="connsiteY22" fmla="*/ 770065 h 801941"/>
                <a:gd name="connsiteX23" fmla="*/ 4916425 w 5221097"/>
                <a:gd name="connsiteY23" fmla="*/ 782638 h 801941"/>
                <a:gd name="connsiteX24" fmla="*/ 4999673 w 5221097"/>
                <a:gd name="connsiteY24" fmla="*/ 782638 h 801941"/>
                <a:gd name="connsiteX25" fmla="*/ 5012246 w 5221097"/>
                <a:gd name="connsiteY25" fmla="*/ 770065 h 801941"/>
                <a:gd name="connsiteX26" fmla="*/ 5012246 w 5221097"/>
                <a:gd name="connsiteY26" fmla="*/ 489458 h 801941"/>
                <a:gd name="connsiteX27" fmla="*/ 4968876 w 5221097"/>
                <a:gd name="connsiteY27" fmla="*/ 319469 h 801941"/>
                <a:gd name="connsiteX28" fmla="*/ 4727067 w 5221097"/>
                <a:gd name="connsiteY28" fmla="*/ 223647 h 801941"/>
                <a:gd name="connsiteX29" fmla="*/ 3963924 w 5221097"/>
                <a:gd name="connsiteY29" fmla="*/ 694754 h 801941"/>
                <a:gd name="connsiteX30" fmla="*/ 3728911 w 5221097"/>
                <a:gd name="connsiteY30" fmla="*/ 508826 h 801941"/>
                <a:gd name="connsiteX31" fmla="*/ 3961638 w 5221097"/>
                <a:gd name="connsiteY31" fmla="*/ 311468 h 801941"/>
                <a:gd name="connsiteX32" fmla="*/ 3965067 w 5221097"/>
                <a:gd name="connsiteY32" fmla="*/ 311468 h 801941"/>
                <a:gd name="connsiteX33" fmla="*/ 4197795 w 5221097"/>
                <a:gd name="connsiteY33" fmla="*/ 503111 h 801941"/>
                <a:gd name="connsiteX34" fmla="*/ 3963924 w 5221097"/>
                <a:gd name="connsiteY34" fmla="*/ 694754 h 801941"/>
                <a:gd name="connsiteX35" fmla="*/ 3965067 w 5221097"/>
                <a:gd name="connsiteY35" fmla="*/ 216789 h 801941"/>
                <a:gd name="connsiteX36" fmla="*/ 3960495 w 5221097"/>
                <a:gd name="connsiteY36" fmla="*/ 216789 h 801941"/>
                <a:gd name="connsiteX37" fmla="*/ 3612578 w 5221097"/>
                <a:gd name="connsiteY37" fmla="*/ 511112 h 801941"/>
                <a:gd name="connsiteX38" fmla="*/ 3963924 w 5221097"/>
                <a:gd name="connsiteY38" fmla="*/ 789432 h 801941"/>
                <a:gd name="connsiteX39" fmla="*/ 4312984 w 5221097"/>
                <a:gd name="connsiteY39" fmla="*/ 503111 h 801941"/>
                <a:gd name="connsiteX40" fmla="*/ 3965067 w 5221097"/>
                <a:gd name="connsiteY40" fmla="*/ 216789 h 801941"/>
                <a:gd name="connsiteX41" fmla="*/ 2522093 w 5221097"/>
                <a:gd name="connsiteY41" fmla="*/ 472313 h 801941"/>
                <a:gd name="connsiteX42" fmla="*/ 2436559 w 5221097"/>
                <a:gd name="connsiteY42" fmla="*/ 459740 h 801941"/>
                <a:gd name="connsiteX43" fmla="*/ 2368106 w 5221097"/>
                <a:gd name="connsiteY43" fmla="*/ 454025 h 801941"/>
                <a:gd name="connsiteX44" fmla="*/ 2279142 w 5221097"/>
                <a:gd name="connsiteY44" fmla="*/ 446024 h 801941"/>
                <a:gd name="connsiteX45" fmla="*/ 2147951 w 5221097"/>
                <a:gd name="connsiteY45" fmla="*/ 383286 h 801941"/>
                <a:gd name="connsiteX46" fmla="*/ 2198116 w 5221097"/>
                <a:gd name="connsiteY46" fmla="*/ 328549 h 801941"/>
                <a:gd name="connsiteX47" fmla="*/ 2317877 w 5221097"/>
                <a:gd name="connsiteY47" fmla="*/ 312611 h 801941"/>
                <a:gd name="connsiteX48" fmla="*/ 2543747 w 5221097"/>
                <a:gd name="connsiteY48" fmla="*/ 368491 h 801941"/>
                <a:gd name="connsiteX49" fmla="*/ 2550605 w 5221097"/>
                <a:gd name="connsiteY49" fmla="*/ 370777 h 801941"/>
                <a:gd name="connsiteX50" fmla="*/ 2559749 w 5221097"/>
                <a:gd name="connsiteY50" fmla="*/ 366205 h 801941"/>
                <a:gd name="connsiteX51" fmla="*/ 2612200 w 5221097"/>
                <a:gd name="connsiteY51" fmla="*/ 309182 h 801941"/>
                <a:gd name="connsiteX52" fmla="*/ 2615628 w 5221097"/>
                <a:gd name="connsiteY52" fmla="*/ 298895 h 801941"/>
                <a:gd name="connsiteX53" fmla="*/ 2609913 w 5221097"/>
                <a:gd name="connsiteY53" fmla="*/ 289751 h 801941"/>
                <a:gd name="connsiteX54" fmla="*/ 2325878 w 5221097"/>
                <a:gd name="connsiteY54" fmla="*/ 217868 h 801941"/>
                <a:gd name="connsiteX55" fmla="*/ 2028126 w 5221097"/>
                <a:gd name="connsiteY55" fmla="*/ 391224 h 801941"/>
                <a:gd name="connsiteX56" fmla="*/ 2228913 w 5221097"/>
                <a:gd name="connsiteY56" fmla="*/ 541782 h 801941"/>
                <a:gd name="connsiteX57" fmla="*/ 2323592 w 5221097"/>
                <a:gd name="connsiteY57" fmla="*/ 550926 h 801941"/>
                <a:gd name="connsiteX58" fmla="*/ 2332736 w 5221097"/>
                <a:gd name="connsiteY58" fmla="*/ 552069 h 801941"/>
                <a:gd name="connsiteX59" fmla="*/ 2343023 w 5221097"/>
                <a:gd name="connsiteY59" fmla="*/ 553212 h 801941"/>
                <a:gd name="connsiteX60" fmla="*/ 2443416 w 5221097"/>
                <a:gd name="connsiteY60" fmla="*/ 562356 h 801941"/>
                <a:gd name="connsiteX61" fmla="*/ 2524379 w 5221097"/>
                <a:gd name="connsiteY61" fmla="*/ 623951 h 801941"/>
                <a:gd name="connsiteX62" fmla="*/ 2466213 w 5221097"/>
                <a:gd name="connsiteY62" fmla="*/ 690118 h 801941"/>
                <a:gd name="connsiteX63" fmla="*/ 2337308 w 5221097"/>
                <a:gd name="connsiteY63" fmla="*/ 707200 h 801941"/>
                <a:gd name="connsiteX64" fmla="*/ 2082927 w 5221097"/>
                <a:gd name="connsiteY64" fmla="*/ 638747 h 801941"/>
                <a:gd name="connsiteX65" fmla="*/ 2076069 w 5221097"/>
                <a:gd name="connsiteY65" fmla="*/ 636461 h 801941"/>
                <a:gd name="connsiteX66" fmla="*/ 2066925 w 5221097"/>
                <a:gd name="connsiteY66" fmla="*/ 641033 h 801941"/>
                <a:gd name="connsiteX67" fmla="*/ 2011045 w 5221097"/>
                <a:gd name="connsiteY67" fmla="*/ 701485 h 801941"/>
                <a:gd name="connsiteX68" fmla="*/ 2007616 w 5221097"/>
                <a:gd name="connsiteY68" fmla="*/ 711772 h 801941"/>
                <a:gd name="connsiteX69" fmla="*/ 2013331 w 5221097"/>
                <a:gd name="connsiteY69" fmla="*/ 720916 h 801941"/>
                <a:gd name="connsiteX70" fmla="*/ 2346388 w 5221097"/>
                <a:gd name="connsiteY70" fmla="*/ 800799 h 801941"/>
                <a:gd name="connsiteX71" fmla="*/ 2641854 w 5221097"/>
                <a:gd name="connsiteY71" fmla="*/ 616014 h 801941"/>
                <a:gd name="connsiteX72" fmla="*/ 2522093 w 5221097"/>
                <a:gd name="connsiteY72" fmla="*/ 472313 h 801941"/>
                <a:gd name="connsiteX73" fmla="*/ 3255582 w 5221097"/>
                <a:gd name="connsiteY73" fmla="*/ 223647 h 801941"/>
                <a:gd name="connsiteX74" fmla="*/ 3107309 w 5221097"/>
                <a:gd name="connsiteY74" fmla="*/ 249873 h 801941"/>
                <a:gd name="connsiteX75" fmla="*/ 3022918 w 5221097"/>
                <a:gd name="connsiteY75" fmla="*/ 303467 h 801941"/>
                <a:gd name="connsiteX76" fmla="*/ 3022918 w 5221097"/>
                <a:gd name="connsiteY76" fmla="*/ 253302 h 801941"/>
                <a:gd name="connsiteX77" fmla="*/ 3010345 w 5221097"/>
                <a:gd name="connsiteY77" fmla="*/ 240729 h 801941"/>
                <a:gd name="connsiteX78" fmla="*/ 2927096 w 5221097"/>
                <a:gd name="connsiteY78" fmla="*/ 240729 h 801941"/>
                <a:gd name="connsiteX79" fmla="*/ 2914523 w 5221097"/>
                <a:gd name="connsiteY79" fmla="*/ 253302 h 801941"/>
                <a:gd name="connsiteX80" fmla="*/ 2914523 w 5221097"/>
                <a:gd name="connsiteY80" fmla="*/ 771208 h 801941"/>
                <a:gd name="connsiteX81" fmla="*/ 2927096 w 5221097"/>
                <a:gd name="connsiteY81" fmla="*/ 783781 h 801941"/>
                <a:gd name="connsiteX82" fmla="*/ 3010345 w 5221097"/>
                <a:gd name="connsiteY82" fmla="*/ 783781 h 801941"/>
                <a:gd name="connsiteX83" fmla="*/ 3022918 w 5221097"/>
                <a:gd name="connsiteY83" fmla="*/ 771208 h 801941"/>
                <a:gd name="connsiteX84" fmla="*/ 3022918 w 5221097"/>
                <a:gd name="connsiteY84" fmla="*/ 525971 h 801941"/>
                <a:gd name="connsiteX85" fmla="*/ 3122168 w 5221097"/>
                <a:gd name="connsiteY85" fmla="*/ 343471 h 801941"/>
                <a:gd name="connsiteX86" fmla="*/ 3238501 w 5221097"/>
                <a:gd name="connsiteY86" fmla="*/ 320675 h 801941"/>
                <a:gd name="connsiteX87" fmla="*/ 3382264 w 5221097"/>
                <a:gd name="connsiteY87" fmla="*/ 362903 h 801941"/>
                <a:gd name="connsiteX88" fmla="*/ 3432429 w 5221097"/>
                <a:gd name="connsiteY88" fmla="*/ 497523 h 801941"/>
                <a:gd name="connsiteX89" fmla="*/ 3432429 w 5221097"/>
                <a:gd name="connsiteY89" fmla="*/ 771271 h 801941"/>
                <a:gd name="connsiteX90" fmla="*/ 3445002 w 5221097"/>
                <a:gd name="connsiteY90" fmla="*/ 783844 h 801941"/>
                <a:gd name="connsiteX91" fmla="*/ 3528250 w 5221097"/>
                <a:gd name="connsiteY91" fmla="*/ 783844 h 801941"/>
                <a:gd name="connsiteX92" fmla="*/ 3540760 w 5221097"/>
                <a:gd name="connsiteY92" fmla="*/ 771271 h 801941"/>
                <a:gd name="connsiteX93" fmla="*/ 3540760 w 5221097"/>
                <a:gd name="connsiteY93" fmla="*/ 490665 h 801941"/>
                <a:gd name="connsiteX94" fmla="*/ 3497389 w 5221097"/>
                <a:gd name="connsiteY94" fmla="*/ 320675 h 801941"/>
                <a:gd name="connsiteX95" fmla="*/ 3255582 w 5221097"/>
                <a:gd name="connsiteY95" fmla="*/ 223711 h 801941"/>
                <a:gd name="connsiteX96" fmla="*/ 2807272 w 5221097"/>
                <a:gd name="connsiteY96" fmla="*/ 239649 h 801941"/>
                <a:gd name="connsiteX97" fmla="*/ 2722880 w 5221097"/>
                <a:gd name="connsiteY97" fmla="*/ 239649 h 801941"/>
                <a:gd name="connsiteX98" fmla="*/ 2710307 w 5221097"/>
                <a:gd name="connsiteY98" fmla="*/ 252222 h 801941"/>
                <a:gd name="connsiteX99" fmla="*/ 2710307 w 5221097"/>
                <a:gd name="connsiteY99" fmla="*/ 770128 h 801941"/>
                <a:gd name="connsiteX100" fmla="*/ 2722880 w 5221097"/>
                <a:gd name="connsiteY100" fmla="*/ 782701 h 801941"/>
                <a:gd name="connsiteX101" fmla="*/ 2807272 w 5221097"/>
                <a:gd name="connsiteY101" fmla="*/ 782701 h 801941"/>
                <a:gd name="connsiteX102" fmla="*/ 2819845 w 5221097"/>
                <a:gd name="connsiteY102" fmla="*/ 770128 h 801941"/>
                <a:gd name="connsiteX103" fmla="*/ 2819845 w 5221097"/>
                <a:gd name="connsiteY103" fmla="*/ 252222 h 801941"/>
                <a:gd name="connsiteX104" fmla="*/ 2807272 w 5221097"/>
                <a:gd name="connsiteY104" fmla="*/ 239649 h 801941"/>
                <a:gd name="connsiteX105" fmla="*/ 1035749 w 5221097"/>
                <a:gd name="connsiteY105" fmla="*/ 670814 h 801941"/>
                <a:gd name="connsiteX106" fmla="*/ 863537 w 5221097"/>
                <a:gd name="connsiteY106" fmla="*/ 716407 h 801941"/>
                <a:gd name="connsiteX107" fmla="*/ 714121 w 5221097"/>
                <a:gd name="connsiteY107" fmla="*/ 613728 h 801941"/>
                <a:gd name="connsiteX108" fmla="*/ 767715 w 5221097"/>
                <a:gd name="connsiteY108" fmla="*/ 542989 h 801941"/>
                <a:gd name="connsiteX109" fmla="*/ 917130 w 5221097"/>
                <a:gd name="connsiteY109" fmla="*/ 529273 h 801941"/>
                <a:gd name="connsiteX110" fmla="*/ 1107631 w 5221097"/>
                <a:gd name="connsiteY110" fmla="*/ 529273 h 801941"/>
                <a:gd name="connsiteX111" fmla="*/ 1035749 w 5221097"/>
                <a:gd name="connsiteY111" fmla="*/ 670751 h 801941"/>
                <a:gd name="connsiteX112" fmla="*/ 539560 w 5221097"/>
                <a:gd name="connsiteY112" fmla="*/ 682181 h 801941"/>
                <a:gd name="connsiteX113" fmla="*/ 114110 w 5221097"/>
                <a:gd name="connsiteY113" fmla="*/ 682181 h 801941"/>
                <a:gd name="connsiteX114" fmla="*/ 114110 w 5221097"/>
                <a:gd name="connsiteY114" fmla="*/ 32004 h 801941"/>
                <a:gd name="connsiteX115" fmla="*/ 101536 w 5221097"/>
                <a:gd name="connsiteY115" fmla="*/ 19431 h 801941"/>
                <a:gd name="connsiteX116" fmla="*/ 12573 w 5221097"/>
                <a:gd name="connsiteY116" fmla="*/ 19431 h 801941"/>
                <a:gd name="connsiteX117" fmla="*/ 0 w 5221097"/>
                <a:gd name="connsiteY117" fmla="*/ 32004 h 801941"/>
                <a:gd name="connsiteX118" fmla="*/ 0 w 5221097"/>
                <a:gd name="connsiteY118" fmla="*/ 770065 h 801941"/>
                <a:gd name="connsiteX119" fmla="*/ 12573 w 5221097"/>
                <a:gd name="connsiteY119" fmla="*/ 782638 h 801941"/>
                <a:gd name="connsiteX120" fmla="*/ 539560 w 5221097"/>
                <a:gd name="connsiteY120" fmla="*/ 782638 h 801941"/>
                <a:gd name="connsiteX121" fmla="*/ 552133 w 5221097"/>
                <a:gd name="connsiteY121" fmla="*/ 770065 h 801941"/>
                <a:gd name="connsiteX122" fmla="*/ 552133 w 5221097"/>
                <a:gd name="connsiteY122" fmla="*/ 697040 h 801941"/>
                <a:gd name="connsiteX123" fmla="*/ 539560 w 5221097"/>
                <a:gd name="connsiteY123" fmla="*/ 682181 h 801941"/>
                <a:gd name="connsiteX124" fmla="*/ 629666 w 5221097"/>
                <a:gd name="connsiteY124" fmla="*/ 706120 h 801941"/>
                <a:gd name="connsiteX125" fmla="*/ 858964 w 5221097"/>
                <a:gd name="connsiteY125" fmla="*/ 801942 h 801941"/>
                <a:gd name="connsiteX126" fmla="*/ 1041463 w 5221097"/>
                <a:gd name="connsiteY126" fmla="*/ 762000 h 801941"/>
                <a:gd name="connsiteX127" fmla="*/ 1109916 w 5221097"/>
                <a:gd name="connsiteY127" fmla="*/ 701548 h 801941"/>
                <a:gd name="connsiteX128" fmla="*/ 1262761 w 5221097"/>
                <a:gd name="connsiteY128" fmla="*/ 788226 h 801941"/>
                <a:gd name="connsiteX129" fmla="*/ 1421321 w 5221097"/>
                <a:gd name="connsiteY129" fmla="*/ 659321 h 801941"/>
                <a:gd name="connsiteX130" fmla="*/ 1421321 w 5221097"/>
                <a:gd name="connsiteY130" fmla="*/ 524701 h 801941"/>
                <a:gd name="connsiteX131" fmla="*/ 1520571 w 5221097"/>
                <a:gd name="connsiteY131" fmla="*/ 342202 h 801941"/>
                <a:gd name="connsiteX132" fmla="*/ 1636903 w 5221097"/>
                <a:gd name="connsiteY132" fmla="*/ 319405 h 801941"/>
                <a:gd name="connsiteX133" fmla="*/ 1780603 w 5221097"/>
                <a:gd name="connsiteY133" fmla="*/ 361633 h 801941"/>
                <a:gd name="connsiteX134" fmla="*/ 1830769 w 5221097"/>
                <a:gd name="connsiteY134" fmla="*/ 496253 h 801941"/>
                <a:gd name="connsiteX135" fmla="*/ 1830769 w 5221097"/>
                <a:gd name="connsiteY135" fmla="*/ 770001 h 801941"/>
                <a:gd name="connsiteX136" fmla="*/ 1843341 w 5221097"/>
                <a:gd name="connsiteY136" fmla="*/ 782574 h 801941"/>
                <a:gd name="connsiteX137" fmla="*/ 1926590 w 5221097"/>
                <a:gd name="connsiteY137" fmla="*/ 782574 h 801941"/>
                <a:gd name="connsiteX138" fmla="*/ 1939163 w 5221097"/>
                <a:gd name="connsiteY138" fmla="*/ 770001 h 801941"/>
                <a:gd name="connsiteX139" fmla="*/ 1939163 w 5221097"/>
                <a:gd name="connsiteY139" fmla="*/ 489395 h 801941"/>
                <a:gd name="connsiteX140" fmla="*/ 1895792 w 5221097"/>
                <a:gd name="connsiteY140" fmla="*/ 319405 h 801941"/>
                <a:gd name="connsiteX141" fmla="*/ 1653985 w 5221097"/>
                <a:gd name="connsiteY141" fmla="*/ 223584 h 801941"/>
                <a:gd name="connsiteX142" fmla="*/ 1504569 w 5221097"/>
                <a:gd name="connsiteY142" fmla="*/ 249809 h 801941"/>
                <a:gd name="connsiteX143" fmla="*/ 1420177 w 5221097"/>
                <a:gd name="connsiteY143" fmla="*/ 303403 h 801941"/>
                <a:gd name="connsiteX144" fmla="*/ 1420177 w 5221097"/>
                <a:gd name="connsiteY144" fmla="*/ 253174 h 801941"/>
                <a:gd name="connsiteX145" fmla="*/ 1407604 w 5221097"/>
                <a:gd name="connsiteY145" fmla="*/ 240602 h 801941"/>
                <a:gd name="connsiteX146" fmla="*/ 1324356 w 5221097"/>
                <a:gd name="connsiteY146" fmla="*/ 240602 h 801941"/>
                <a:gd name="connsiteX147" fmla="*/ 1311783 w 5221097"/>
                <a:gd name="connsiteY147" fmla="*/ 253174 h 801941"/>
                <a:gd name="connsiteX148" fmla="*/ 1311783 w 5221097"/>
                <a:gd name="connsiteY148" fmla="*/ 610235 h 801941"/>
                <a:gd name="connsiteX149" fmla="*/ 1265047 w 5221097"/>
                <a:gd name="connsiteY149" fmla="*/ 708343 h 801941"/>
                <a:gd name="connsiteX150" fmla="*/ 1210310 w 5221097"/>
                <a:gd name="connsiteY150" fmla="*/ 610235 h 801941"/>
                <a:gd name="connsiteX151" fmla="*/ 1210310 w 5221097"/>
                <a:gd name="connsiteY151" fmla="*/ 415163 h 801941"/>
                <a:gd name="connsiteX152" fmla="*/ 1089406 w 5221097"/>
                <a:gd name="connsiteY152" fmla="*/ 242888 h 801941"/>
                <a:gd name="connsiteX153" fmla="*/ 927417 w 5221097"/>
                <a:gd name="connsiteY153" fmla="*/ 224663 h 801941"/>
                <a:gd name="connsiteX154" fmla="*/ 641096 w 5221097"/>
                <a:gd name="connsiteY154" fmla="*/ 360426 h 801941"/>
                <a:gd name="connsiteX155" fmla="*/ 642239 w 5221097"/>
                <a:gd name="connsiteY155" fmla="*/ 371856 h 801941"/>
                <a:gd name="connsiteX156" fmla="*/ 652526 w 5221097"/>
                <a:gd name="connsiteY156" fmla="*/ 377571 h 801941"/>
                <a:gd name="connsiteX157" fmla="*/ 739203 w 5221097"/>
                <a:gd name="connsiteY157" fmla="*/ 377571 h 801941"/>
                <a:gd name="connsiteX158" fmla="*/ 750634 w 5221097"/>
                <a:gd name="connsiteY158" fmla="*/ 370713 h 801941"/>
                <a:gd name="connsiteX159" fmla="*/ 805371 w 5221097"/>
                <a:gd name="connsiteY159" fmla="*/ 326199 h 801941"/>
                <a:gd name="connsiteX160" fmla="*/ 933133 w 5221097"/>
                <a:gd name="connsiteY160" fmla="*/ 306832 h 801941"/>
                <a:gd name="connsiteX161" fmla="*/ 1051750 w 5221097"/>
                <a:gd name="connsiteY161" fmla="*/ 325057 h 801941"/>
                <a:gd name="connsiteX162" fmla="*/ 1105345 w 5221097"/>
                <a:gd name="connsiteY162" fmla="*/ 443674 h 801941"/>
                <a:gd name="connsiteX163" fmla="*/ 959358 w 5221097"/>
                <a:gd name="connsiteY163" fmla="*/ 443674 h 801941"/>
                <a:gd name="connsiteX164" fmla="*/ 727774 w 5221097"/>
                <a:gd name="connsiteY164" fmla="*/ 459677 h 801941"/>
                <a:gd name="connsiteX165" fmla="*/ 604584 w 5221097"/>
                <a:gd name="connsiteY165" fmla="*/ 617093 h 801941"/>
                <a:gd name="connsiteX166" fmla="*/ 618300 w 5221097"/>
                <a:gd name="connsiteY166" fmla="*/ 684403 h 801941"/>
                <a:gd name="connsiteX167" fmla="*/ 5150295 w 5221097"/>
                <a:gd name="connsiteY167" fmla="*/ 694690 h 801941"/>
                <a:gd name="connsiteX168" fmla="*/ 5132007 w 5221097"/>
                <a:gd name="connsiteY168" fmla="*/ 694690 h 801941"/>
                <a:gd name="connsiteX169" fmla="*/ 5132007 w 5221097"/>
                <a:gd name="connsiteY169" fmla="*/ 715201 h 801941"/>
                <a:gd name="connsiteX170" fmla="*/ 5150295 w 5221097"/>
                <a:gd name="connsiteY170" fmla="*/ 715201 h 801941"/>
                <a:gd name="connsiteX171" fmla="*/ 5161725 w 5221097"/>
                <a:gd name="connsiteY171" fmla="*/ 704914 h 801941"/>
                <a:gd name="connsiteX172" fmla="*/ 5150295 w 5221097"/>
                <a:gd name="connsiteY172" fmla="*/ 694627 h 801941"/>
                <a:gd name="connsiteX173" fmla="*/ 5161725 w 5221097"/>
                <a:gd name="connsiteY173" fmla="*/ 729996 h 801941"/>
                <a:gd name="connsiteX174" fmla="*/ 5176584 w 5221097"/>
                <a:gd name="connsiteY174" fmla="*/ 756222 h 801941"/>
                <a:gd name="connsiteX175" fmla="*/ 5175441 w 5221097"/>
                <a:gd name="connsiteY175" fmla="*/ 759651 h 801941"/>
                <a:gd name="connsiteX176" fmla="*/ 5158359 w 5221097"/>
                <a:gd name="connsiteY176" fmla="*/ 759651 h 801941"/>
                <a:gd name="connsiteX177" fmla="*/ 5156074 w 5221097"/>
                <a:gd name="connsiteY177" fmla="*/ 757365 h 801941"/>
                <a:gd name="connsiteX178" fmla="*/ 5141214 w 5221097"/>
                <a:gd name="connsiteY178" fmla="*/ 731139 h 801941"/>
                <a:gd name="connsiteX179" fmla="*/ 5132070 w 5221097"/>
                <a:gd name="connsiteY179" fmla="*/ 731139 h 801941"/>
                <a:gd name="connsiteX180" fmla="*/ 5132070 w 5221097"/>
                <a:gd name="connsiteY180" fmla="*/ 757365 h 801941"/>
                <a:gd name="connsiteX181" fmla="*/ 5129784 w 5221097"/>
                <a:gd name="connsiteY181" fmla="*/ 759651 h 801941"/>
                <a:gd name="connsiteX182" fmla="*/ 5116068 w 5221097"/>
                <a:gd name="connsiteY182" fmla="*/ 759651 h 801941"/>
                <a:gd name="connsiteX183" fmla="*/ 5113782 w 5221097"/>
                <a:gd name="connsiteY183" fmla="*/ 757365 h 801941"/>
                <a:gd name="connsiteX184" fmla="*/ 5113782 w 5221097"/>
                <a:gd name="connsiteY184" fmla="*/ 679768 h 801941"/>
                <a:gd name="connsiteX185" fmla="*/ 5116068 w 5221097"/>
                <a:gd name="connsiteY185" fmla="*/ 677482 h 801941"/>
                <a:gd name="connsiteX186" fmla="*/ 5153724 w 5221097"/>
                <a:gd name="connsiteY186" fmla="*/ 677482 h 801941"/>
                <a:gd name="connsiteX187" fmla="*/ 5179950 w 5221097"/>
                <a:gd name="connsiteY187" fmla="*/ 703707 h 801941"/>
                <a:gd name="connsiteX188" fmla="*/ 5161725 w 5221097"/>
                <a:gd name="connsiteY188" fmla="*/ 729933 h 801941"/>
                <a:gd name="connsiteX189" fmla="*/ 5145787 w 5221097"/>
                <a:gd name="connsiteY189" fmla="*/ 658051 h 801941"/>
                <a:gd name="connsiteX190" fmla="*/ 5086477 w 5221097"/>
                <a:gd name="connsiteY190" fmla="*/ 717360 h 801941"/>
                <a:gd name="connsiteX191" fmla="*/ 5145787 w 5221097"/>
                <a:gd name="connsiteY191" fmla="*/ 776669 h 801941"/>
                <a:gd name="connsiteX192" fmla="*/ 5205095 w 5221097"/>
                <a:gd name="connsiteY192" fmla="*/ 717360 h 801941"/>
                <a:gd name="connsiteX193" fmla="*/ 5145787 w 5221097"/>
                <a:gd name="connsiteY193" fmla="*/ 658051 h 801941"/>
                <a:gd name="connsiteX194" fmla="*/ 5145787 w 5221097"/>
                <a:gd name="connsiteY194" fmla="*/ 792671 h 801941"/>
                <a:gd name="connsiteX195" fmla="*/ 5070476 w 5221097"/>
                <a:gd name="connsiteY195" fmla="*/ 717360 h 801941"/>
                <a:gd name="connsiteX196" fmla="*/ 5145787 w 5221097"/>
                <a:gd name="connsiteY196" fmla="*/ 642049 h 801941"/>
                <a:gd name="connsiteX197" fmla="*/ 5221097 w 5221097"/>
                <a:gd name="connsiteY197" fmla="*/ 717360 h 801941"/>
                <a:gd name="connsiteX198" fmla="*/ 5145787 w 5221097"/>
                <a:gd name="connsiteY198" fmla="*/ 792671 h 80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5221097" h="801941">
                  <a:moveTo>
                    <a:pt x="2766124" y="68517"/>
                  </a:moveTo>
                  <a:lnTo>
                    <a:pt x="2766124" y="68517"/>
                  </a:lnTo>
                  <a:cubicBezTo>
                    <a:pt x="2726182" y="68517"/>
                    <a:pt x="2699957" y="91313"/>
                    <a:pt x="2699957" y="124396"/>
                  </a:cubicBezTo>
                  <a:cubicBezTo>
                    <a:pt x="2699957" y="157480"/>
                    <a:pt x="2726182" y="176848"/>
                    <a:pt x="2766124" y="176848"/>
                  </a:cubicBezTo>
                  <a:cubicBezTo>
                    <a:pt x="2799207" y="176848"/>
                    <a:pt x="2832290" y="159766"/>
                    <a:pt x="2832290" y="123254"/>
                  </a:cubicBezTo>
                  <a:cubicBezTo>
                    <a:pt x="2831148" y="82169"/>
                    <a:pt x="2795778" y="68517"/>
                    <a:pt x="2766124" y="68517"/>
                  </a:cubicBezTo>
                  <a:moveTo>
                    <a:pt x="4727004" y="223647"/>
                  </a:moveTo>
                  <a:cubicBezTo>
                    <a:pt x="4672267" y="223647"/>
                    <a:pt x="4623181" y="232791"/>
                    <a:pt x="4578731" y="249873"/>
                  </a:cubicBezTo>
                  <a:cubicBezTo>
                    <a:pt x="4534218" y="267018"/>
                    <a:pt x="4514851" y="284099"/>
                    <a:pt x="4494339" y="303467"/>
                  </a:cubicBezTo>
                  <a:lnTo>
                    <a:pt x="4494339" y="12573"/>
                  </a:lnTo>
                  <a:cubicBezTo>
                    <a:pt x="4494339" y="5715"/>
                    <a:pt x="4488625" y="0"/>
                    <a:pt x="4481767" y="0"/>
                  </a:cubicBezTo>
                  <a:lnTo>
                    <a:pt x="4398518" y="0"/>
                  </a:lnTo>
                  <a:cubicBezTo>
                    <a:pt x="4391660" y="0"/>
                    <a:pt x="4385945" y="5715"/>
                    <a:pt x="4385945" y="12573"/>
                  </a:cubicBezTo>
                  <a:lnTo>
                    <a:pt x="4385945" y="770001"/>
                  </a:lnTo>
                  <a:cubicBezTo>
                    <a:pt x="4385945" y="776859"/>
                    <a:pt x="4391660" y="782574"/>
                    <a:pt x="4398518" y="782574"/>
                  </a:cubicBezTo>
                  <a:lnTo>
                    <a:pt x="4481767" y="782574"/>
                  </a:lnTo>
                  <a:cubicBezTo>
                    <a:pt x="4488625" y="782574"/>
                    <a:pt x="4494339" y="776859"/>
                    <a:pt x="4494339" y="770001"/>
                  </a:cubicBezTo>
                  <a:lnTo>
                    <a:pt x="4494339" y="524764"/>
                  </a:lnTo>
                  <a:cubicBezTo>
                    <a:pt x="4494339" y="470027"/>
                    <a:pt x="4494339" y="386715"/>
                    <a:pt x="4593590" y="342265"/>
                  </a:cubicBezTo>
                  <a:cubicBezTo>
                    <a:pt x="4640389" y="321755"/>
                    <a:pt x="4676838" y="319469"/>
                    <a:pt x="4709922" y="319469"/>
                  </a:cubicBezTo>
                  <a:cubicBezTo>
                    <a:pt x="4749863" y="319469"/>
                    <a:pt x="4808030" y="324041"/>
                    <a:pt x="4853687" y="361696"/>
                  </a:cubicBezTo>
                  <a:cubicBezTo>
                    <a:pt x="4901565" y="400495"/>
                    <a:pt x="4902708" y="449517"/>
                    <a:pt x="4903851" y="496316"/>
                  </a:cubicBezTo>
                  <a:lnTo>
                    <a:pt x="4903851" y="770065"/>
                  </a:lnTo>
                  <a:cubicBezTo>
                    <a:pt x="4903851" y="776923"/>
                    <a:pt x="4909566" y="782638"/>
                    <a:pt x="4916425" y="782638"/>
                  </a:cubicBezTo>
                  <a:lnTo>
                    <a:pt x="4999673" y="782638"/>
                  </a:lnTo>
                  <a:cubicBezTo>
                    <a:pt x="5006531" y="782638"/>
                    <a:pt x="5012246" y="776923"/>
                    <a:pt x="5012246" y="770065"/>
                  </a:cubicBezTo>
                  <a:lnTo>
                    <a:pt x="5012246" y="489458"/>
                  </a:lnTo>
                  <a:cubicBezTo>
                    <a:pt x="5012246" y="432435"/>
                    <a:pt x="5012246" y="374269"/>
                    <a:pt x="4968876" y="319469"/>
                  </a:cubicBezTo>
                  <a:cubicBezTo>
                    <a:pt x="4901565" y="235077"/>
                    <a:pt x="4788663" y="223647"/>
                    <a:pt x="4727067" y="223647"/>
                  </a:cubicBezTo>
                  <a:moveTo>
                    <a:pt x="3963924" y="694754"/>
                  </a:moveTo>
                  <a:cubicBezTo>
                    <a:pt x="3821366" y="694754"/>
                    <a:pt x="3728911" y="621729"/>
                    <a:pt x="3728911" y="508826"/>
                  </a:cubicBezTo>
                  <a:cubicBezTo>
                    <a:pt x="3728911" y="395923"/>
                    <a:pt x="3822446" y="312611"/>
                    <a:pt x="3961638" y="311468"/>
                  </a:cubicBezTo>
                  <a:lnTo>
                    <a:pt x="3965067" y="311468"/>
                  </a:lnTo>
                  <a:cubicBezTo>
                    <a:pt x="4072319" y="311468"/>
                    <a:pt x="4197795" y="361633"/>
                    <a:pt x="4197795" y="503111"/>
                  </a:cubicBezTo>
                  <a:cubicBezTo>
                    <a:pt x="4196651" y="636588"/>
                    <a:pt x="4080320" y="694754"/>
                    <a:pt x="3963924" y="694754"/>
                  </a:cubicBezTo>
                  <a:moveTo>
                    <a:pt x="3965067" y="216789"/>
                  </a:moveTo>
                  <a:lnTo>
                    <a:pt x="3960495" y="216789"/>
                  </a:lnTo>
                  <a:cubicBezTo>
                    <a:pt x="3752913" y="217932"/>
                    <a:pt x="3612578" y="336550"/>
                    <a:pt x="3612578" y="511112"/>
                  </a:cubicBezTo>
                  <a:cubicBezTo>
                    <a:pt x="3612578" y="685673"/>
                    <a:pt x="3750627" y="789432"/>
                    <a:pt x="3963924" y="789432"/>
                  </a:cubicBezTo>
                  <a:cubicBezTo>
                    <a:pt x="4137343" y="789432"/>
                    <a:pt x="4312984" y="700469"/>
                    <a:pt x="4312984" y="503111"/>
                  </a:cubicBezTo>
                  <a:cubicBezTo>
                    <a:pt x="4312984" y="292100"/>
                    <a:pt x="4125913" y="216789"/>
                    <a:pt x="3965067" y="216789"/>
                  </a:cubicBezTo>
                  <a:moveTo>
                    <a:pt x="2522093" y="472313"/>
                  </a:moveTo>
                  <a:cubicBezTo>
                    <a:pt x="2498153" y="466598"/>
                    <a:pt x="2471928" y="463169"/>
                    <a:pt x="2436559" y="459740"/>
                  </a:cubicBezTo>
                  <a:cubicBezTo>
                    <a:pt x="2413762" y="457454"/>
                    <a:pt x="2390902" y="455168"/>
                    <a:pt x="2368106" y="454025"/>
                  </a:cubicBezTo>
                  <a:cubicBezTo>
                    <a:pt x="2339594" y="451739"/>
                    <a:pt x="2309939" y="449453"/>
                    <a:pt x="2279142" y="446024"/>
                  </a:cubicBezTo>
                  <a:cubicBezTo>
                    <a:pt x="2204974" y="438023"/>
                    <a:pt x="2147951" y="428879"/>
                    <a:pt x="2147951" y="383286"/>
                  </a:cubicBezTo>
                  <a:cubicBezTo>
                    <a:pt x="2147951" y="352489"/>
                    <a:pt x="2179891" y="336550"/>
                    <a:pt x="2198116" y="328549"/>
                  </a:cubicBezTo>
                  <a:cubicBezTo>
                    <a:pt x="2235772" y="313690"/>
                    <a:pt x="2277999" y="312611"/>
                    <a:pt x="2317877" y="312611"/>
                  </a:cubicBezTo>
                  <a:cubicBezTo>
                    <a:pt x="2403412" y="312611"/>
                    <a:pt x="2487866" y="333121"/>
                    <a:pt x="2543747" y="368491"/>
                  </a:cubicBezTo>
                  <a:lnTo>
                    <a:pt x="2550605" y="370777"/>
                  </a:lnTo>
                  <a:cubicBezTo>
                    <a:pt x="2554034" y="370777"/>
                    <a:pt x="2557463" y="369634"/>
                    <a:pt x="2559749" y="366205"/>
                  </a:cubicBezTo>
                  <a:lnTo>
                    <a:pt x="2612200" y="309182"/>
                  </a:lnTo>
                  <a:cubicBezTo>
                    <a:pt x="2614486" y="305753"/>
                    <a:pt x="2615628" y="302324"/>
                    <a:pt x="2615628" y="298895"/>
                  </a:cubicBezTo>
                  <a:cubicBezTo>
                    <a:pt x="2615628" y="295466"/>
                    <a:pt x="2613343" y="292037"/>
                    <a:pt x="2609913" y="289751"/>
                  </a:cubicBezTo>
                  <a:cubicBezTo>
                    <a:pt x="2584831" y="272606"/>
                    <a:pt x="2487866" y="217868"/>
                    <a:pt x="2325878" y="217868"/>
                  </a:cubicBezTo>
                  <a:cubicBezTo>
                    <a:pt x="2130806" y="217868"/>
                    <a:pt x="2028126" y="278321"/>
                    <a:pt x="2028126" y="391224"/>
                  </a:cubicBezTo>
                  <a:cubicBezTo>
                    <a:pt x="2028126" y="523558"/>
                    <a:pt x="2178685" y="537210"/>
                    <a:pt x="2228913" y="541782"/>
                  </a:cubicBezTo>
                  <a:cubicBezTo>
                    <a:pt x="2243773" y="544068"/>
                    <a:pt x="2282508" y="546354"/>
                    <a:pt x="2323592" y="550926"/>
                  </a:cubicBezTo>
                  <a:lnTo>
                    <a:pt x="2332736" y="552069"/>
                  </a:lnTo>
                  <a:lnTo>
                    <a:pt x="2343023" y="553212"/>
                  </a:lnTo>
                  <a:cubicBezTo>
                    <a:pt x="2385250" y="556641"/>
                    <a:pt x="2428558" y="560070"/>
                    <a:pt x="2443416" y="562356"/>
                  </a:cubicBezTo>
                  <a:cubicBezTo>
                    <a:pt x="2497011" y="570357"/>
                    <a:pt x="2524379" y="592011"/>
                    <a:pt x="2524379" y="623951"/>
                  </a:cubicBezTo>
                  <a:cubicBezTo>
                    <a:pt x="2524379" y="661607"/>
                    <a:pt x="2492438" y="680974"/>
                    <a:pt x="2466213" y="690118"/>
                  </a:cubicBezTo>
                  <a:cubicBezTo>
                    <a:pt x="2430844" y="702691"/>
                    <a:pt x="2376107" y="707200"/>
                    <a:pt x="2337308" y="707200"/>
                  </a:cubicBezTo>
                  <a:cubicBezTo>
                    <a:pt x="2200402" y="707200"/>
                    <a:pt x="2118297" y="664972"/>
                    <a:pt x="2082927" y="638747"/>
                  </a:cubicBezTo>
                  <a:lnTo>
                    <a:pt x="2076069" y="636461"/>
                  </a:lnTo>
                  <a:cubicBezTo>
                    <a:pt x="2072640" y="636461"/>
                    <a:pt x="2069211" y="637604"/>
                    <a:pt x="2066925" y="641033"/>
                  </a:cubicBezTo>
                  <a:lnTo>
                    <a:pt x="2011045" y="701485"/>
                  </a:lnTo>
                  <a:cubicBezTo>
                    <a:pt x="2008759" y="703771"/>
                    <a:pt x="2007616" y="708343"/>
                    <a:pt x="2007616" y="711772"/>
                  </a:cubicBezTo>
                  <a:cubicBezTo>
                    <a:pt x="2007616" y="715201"/>
                    <a:pt x="2009902" y="718630"/>
                    <a:pt x="2013331" y="720916"/>
                  </a:cubicBezTo>
                  <a:cubicBezTo>
                    <a:pt x="2092071" y="772224"/>
                    <a:pt x="2212976" y="800799"/>
                    <a:pt x="2346388" y="800799"/>
                  </a:cubicBezTo>
                  <a:cubicBezTo>
                    <a:pt x="2435352" y="800799"/>
                    <a:pt x="2641854" y="782511"/>
                    <a:pt x="2641854" y="616014"/>
                  </a:cubicBezTo>
                  <a:cubicBezTo>
                    <a:pt x="2640711" y="544132"/>
                    <a:pt x="2598484" y="492824"/>
                    <a:pt x="2522093" y="472313"/>
                  </a:cubicBezTo>
                  <a:moveTo>
                    <a:pt x="3255582" y="223647"/>
                  </a:moveTo>
                  <a:cubicBezTo>
                    <a:pt x="3200845" y="223647"/>
                    <a:pt x="3151759" y="232791"/>
                    <a:pt x="3107309" y="249873"/>
                  </a:cubicBezTo>
                  <a:cubicBezTo>
                    <a:pt x="3062796" y="267018"/>
                    <a:pt x="3043428" y="284099"/>
                    <a:pt x="3022918" y="303467"/>
                  </a:cubicBezTo>
                  <a:lnTo>
                    <a:pt x="3022918" y="253302"/>
                  </a:lnTo>
                  <a:cubicBezTo>
                    <a:pt x="3022918" y="246443"/>
                    <a:pt x="3017202" y="240729"/>
                    <a:pt x="3010345" y="240729"/>
                  </a:cubicBezTo>
                  <a:lnTo>
                    <a:pt x="2927096" y="240729"/>
                  </a:lnTo>
                  <a:cubicBezTo>
                    <a:pt x="2920238" y="240729"/>
                    <a:pt x="2914523" y="246443"/>
                    <a:pt x="2914523" y="253302"/>
                  </a:cubicBezTo>
                  <a:lnTo>
                    <a:pt x="2914523" y="771208"/>
                  </a:lnTo>
                  <a:cubicBezTo>
                    <a:pt x="2914523" y="778066"/>
                    <a:pt x="2920238" y="783781"/>
                    <a:pt x="2927096" y="783781"/>
                  </a:cubicBezTo>
                  <a:lnTo>
                    <a:pt x="3010345" y="783781"/>
                  </a:lnTo>
                  <a:cubicBezTo>
                    <a:pt x="3017202" y="783781"/>
                    <a:pt x="3022918" y="778066"/>
                    <a:pt x="3022918" y="771208"/>
                  </a:cubicBezTo>
                  <a:lnTo>
                    <a:pt x="3022918" y="525971"/>
                  </a:lnTo>
                  <a:cubicBezTo>
                    <a:pt x="3022918" y="471234"/>
                    <a:pt x="3022918" y="387921"/>
                    <a:pt x="3122168" y="343471"/>
                  </a:cubicBezTo>
                  <a:cubicBezTo>
                    <a:pt x="3168968" y="322961"/>
                    <a:pt x="3205416" y="320675"/>
                    <a:pt x="3238501" y="320675"/>
                  </a:cubicBezTo>
                  <a:cubicBezTo>
                    <a:pt x="3278441" y="320675"/>
                    <a:pt x="3336608" y="325247"/>
                    <a:pt x="3382264" y="362903"/>
                  </a:cubicBezTo>
                  <a:cubicBezTo>
                    <a:pt x="3430207" y="401701"/>
                    <a:pt x="3431286" y="450723"/>
                    <a:pt x="3432429" y="497523"/>
                  </a:cubicBezTo>
                  <a:lnTo>
                    <a:pt x="3432429" y="771271"/>
                  </a:lnTo>
                  <a:cubicBezTo>
                    <a:pt x="3432429" y="778129"/>
                    <a:pt x="3438144" y="783844"/>
                    <a:pt x="3445002" y="783844"/>
                  </a:cubicBezTo>
                  <a:lnTo>
                    <a:pt x="3528250" y="783844"/>
                  </a:lnTo>
                  <a:cubicBezTo>
                    <a:pt x="3535109" y="783844"/>
                    <a:pt x="3540760" y="778129"/>
                    <a:pt x="3540760" y="771271"/>
                  </a:cubicBezTo>
                  <a:lnTo>
                    <a:pt x="3540760" y="490665"/>
                  </a:lnTo>
                  <a:cubicBezTo>
                    <a:pt x="3540760" y="433642"/>
                    <a:pt x="3540760" y="375476"/>
                    <a:pt x="3497389" y="320675"/>
                  </a:cubicBezTo>
                  <a:cubicBezTo>
                    <a:pt x="3431223" y="235141"/>
                    <a:pt x="3317176" y="223711"/>
                    <a:pt x="3255582" y="223711"/>
                  </a:cubicBezTo>
                  <a:moveTo>
                    <a:pt x="2807272" y="239649"/>
                  </a:moveTo>
                  <a:lnTo>
                    <a:pt x="2722880" y="239649"/>
                  </a:lnTo>
                  <a:cubicBezTo>
                    <a:pt x="2716022" y="239649"/>
                    <a:pt x="2710307" y="245364"/>
                    <a:pt x="2710307" y="252222"/>
                  </a:cubicBezTo>
                  <a:lnTo>
                    <a:pt x="2710307" y="770128"/>
                  </a:lnTo>
                  <a:cubicBezTo>
                    <a:pt x="2710307" y="776986"/>
                    <a:pt x="2716022" y="782701"/>
                    <a:pt x="2722880" y="782701"/>
                  </a:cubicBezTo>
                  <a:lnTo>
                    <a:pt x="2807272" y="782701"/>
                  </a:lnTo>
                  <a:cubicBezTo>
                    <a:pt x="2814130" y="782701"/>
                    <a:pt x="2819845" y="776986"/>
                    <a:pt x="2819845" y="770128"/>
                  </a:cubicBezTo>
                  <a:lnTo>
                    <a:pt x="2819845" y="252222"/>
                  </a:lnTo>
                  <a:cubicBezTo>
                    <a:pt x="2819845" y="245364"/>
                    <a:pt x="2814130" y="239649"/>
                    <a:pt x="2807272" y="239649"/>
                  </a:cubicBezTo>
                  <a:moveTo>
                    <a:pt x="1035749" y="670814"/>
                  </a:moveTo>
                  <a:cubicBezTo>
                    <a:pt x="970725" y="714185"/>
                    <a:pt x="880618" y="716407"/>
                    <a:pt x="863537" y="716407"/>
                  </a:cubicBezTo>
                  <a:cubicBezTo>
                    <a:pt x="760857" y="716407"/>
                    <a:pt x="714121" y="665099"/>
                    <a:pt x="714121" y="613728"/>
                  </a:cubicBezTo>
                  <a:cubicBezTo>
                    <a:pt x="714121" y="580644"/>
                    <a:pt x="733488" y="555562"/>
                    <a:pt x="767715" y="542989"/>
                  </a:cubicBezTo>
                  <a:cubicBezTo>
                    <a:pt x="800799" y="530416"/>
                    <a:pt x="857822" y="529273"/>
                    <a:pt x="917130" y="529273"/>
                  </a:cubicBezTo>
                  <a:lnTo>
                    <a:pt x="1107631" y="529273"/>
                  </a:lnTo>
                  <a:cubicBezTo>
                    <a:pt x="1107631" y="560070"/>
                    <a:pt x="1105345" y="622808"/>
                    <a:pt x="1035749" y="670751"/>
                  </a:cubicBezTo>
                  <a:moveTo>
                    <a:pt x="539560" y="682181"/>
                  </a:moveTo>
                  <a:lnTo>
                    <a:pt x="114110" y="682181"/>
                  </a:lnTo>
                  <a:lnTo>
                    <a:pt x="114110" y="32004"/>
                  </a:lnTo>
                  <a:cubicBezTo>
                    <a:pt x="114110" y="25146"/>
                    <a:pt x="108395" y="19431"/>
                    <a:pt x="101536" y="19431"/>
                  </a:cubicBezTo>
                  <a:lnTo>
                    <a:pt x="12573" y="19431"/>
                  </a:lnTo>
                  <a:cubicBezTo>
                    <a:pt x="5715" y="19431"/>
                    <a:pt x="0" y="25146"/>
                    <a:pt x="0" y="32004"/>
                  </a:cubicBezTo>
                  <a:lnTo>
                    <a:pt x="0" y="770065"/>
                  </a:lnTo>
                  <a:cubicBezTo>
                    <a:pt x="0" y="776923"/>
                    <a:pt x="5715" y="782638"/>
                    <a:pt x="12573" y="782638"/>
                  </a:cubicBezTo>
                  <a:lnTo>
                    <a:pt x="539560" y="782638"/>
                  </a:lnTo>
                  <a:cubicBezTo>
                    <a:pt x="546417" y="782638"/>
                    <a:pt x="552133" y="776923"/>
                    <a:pt x="552133" y="770065"/>
                  </a:cubicBezTo>
                  <a:lnTo>
                    <a:pt x="552133" y="697040"/>
                  </a:lnTo>
                  <a:cubicBezTo>
                    <a:pt x="552133" y="683324"/>
                    <a:pt x="539560" y="682181"/>
                    <a:pt x="539560" y="682181"/>
                  </a:cubicBezTo>
                  <a:moveTo>
                    <a:pt x="629666" y="706120"/>
                  </a:moveTo>
                  <a:cubicBezTo>
                    <a:pt x="659321" y="755142"/>
                    <a:pt x="723201" y="801942"/>
                    <a:pt x="858964" y="801942"/>
                  </a:cubicBezTo>
                  <a:cubicBezTo>
                    <a:pt x="926275" y="801942"/>
                    <a:pt x="992441" y="787146"/>
                    <a:pt x="1041463" y="762000"/>
                  </a:cubicBezTo>
                  <a:cubicBezTo>
                    <a:pt x="1082548" y="738061"/>
                    <a:pt x="1098487" y="718630"/>
                    <a:pt x="1109916" y="701548"/>
                  </a:cubicBezTo>
                  <a:cubicBezTo>
                    <a:pt x="1119061" y="739204"/>
                    <a:pt x="1169225" y="788226"/>
                    <a:pt x="1262761" y="788226"/>
                  </a:cubicBezTo>
                  <a:cubicBezTo>
                    <a:pt x="1360869" y="788226"/>
                    <a:pt x="1421321" y="739204"/>
                    <a:pt x="1421321" y="659321"/>
                  </a:cubicBezTo>
                  <a:lnTo>
                    <a:pt x="1421321" y="524701"/>
                  </a:lnTo>
                  <a:cubicBezTo>
                    <a:pt x="1421321" y="469964"/>
                    <a:pt x="1421321" y="386652"/>
                    <a:pt x="1520571" y="342202"/>
                  </a:cubicBezTo>
                  <a:cubicBezTo>
                    <a:pt x="1567307" y="321691"/>
                    <a:pt x="1603820" y="319405"/>
                    <a:pt x="1636903" y="319405"/>
                  </a:cubicBezTo>
                  <a:cubicBezTo>
                    <a:pt x="1676845" y="319405"/>
                    <a:pt x="1735011" y="323977"/>
                    <a:pt x="1780603" y="361633"/>
                  </a:cubicBezTo>
                  <a:cubicBezTo>
                    <a:pt x="1828483" y="400431"/>
                    <a:pt x="1829625" y="449453"/>
                    <a:pt x="1830769" y="496253"/>
                  </a:cubicBezTo>
                  <a:lnTo>
                    <a:pt x="1830769" y="770001"/>
                  </a:lnTo>
                  <a:cubicBezTo>
                    <a:pt x="1830769" y="776859"/>
                    <a:pt x="1836484" y="782574"/>
                    <a:pt x="1843341" y="782574"/>
                  </a:cubicBezTo>
                  <a:lnTo>
                    <a:pt x="1926590" y="782574"/>
                  </a:lnTo>
                  <a:cubicBezTo>
                    <a:pt x="1933448" y="782574"/>
                    <a:pt x="1939163" y="776859"/>
                    <a:pt x="1939163" y="770001"/>
                  </a:cubicBezTo>
                  <a:lnTo>
                    <a:pt x="1939163" y="489395"/>
                  </a:lnTo>
                  <a:cubicBezTo>
                    <a:pt x="1939163" y="432371"/>
                    <a:pt x="1939163" y="374206"/>
                    <a:pt x="1895792" y="319405"/>
                  </a:cubicBezTo>
                  <a:cubicBezTo>
                    <a:pt x="1829625" y="236157"/>
                    <a:pt x="1715579" y="223584"/>
                    <a:pt x="1653985" y="223584"/>
                  </a:cubicBezTo>
                  <a:cubicBezTo>
                    <a:pt x="1599248" y="223584"/>
                    <a:pt x="1550162" y="232728"/>
                    <a:pt x="1504569" y="249809"/>
                  </a:cubicBezTo>
                  <a:cubicBezTo>
                    <a:pt x="1460056" y="266954"/>
                    <a:pt x="1440688" y="284036"/>
                    <a:pt x="1420177" y="303403"/>
                  </a:cubicBezTo>
                  <a:lnTo>
                    <a:pt x="1420177" y="253174"/>
                  </a:lnTo>
                  <a:cubicBezTo>
                    <a:pt x="1420177" y="246317"/>
                    <a:pt x="1414463" y="240602"/>
                    <a:pt x="1407604" y="240602"/>
                  </a:cubicBezTo>
                  <a:lnTo>
                    <a:pt x="1324356" y="240602"/>
                  </a:lnTo>
                  <a:cubicBezTo>
                    <a:pt x="1317498" y="240602"/>
                    <a:pt x="1311783" y="246317"/>
                    <a:pt x="1311783" y="253174"/>
                  </a:cubicBezTo>
                  <a:lnTo>
                    <a:pt x="1311783" y="610235"/>
                  </a:lnTo>
                  <a:cubicBezTo>
                    <a:pt x="1311783" y="682117"/>
                    <a:pt x="1304925" y="708343"/>
                    <a:pt x="1265047" y="708343"/>
                  </a:cubicBezTo>
                  <a:cubicBezTo>
                    <a:pt x="1212596" y="708343"/>
                    <a:pt x="1210310" y="679831"/>
                    <a:pt x="1210310" y="610235"/>
                  </a:cubicBezTo>
                  <a:lnTo>
                    <a:pt x="1210310" y="415163"/>
                  </a:lnTo>
                  <a:cubicBezTo>
                    <a:pt x="1210310" y="353568"/>
                    <a:pt x="1210310" y="275971"/>
                    <a:pt x="1089406" y="242888"/>
                  </a:cubicBezTo>
                  <a:cubicBezTo>
                    <a:pt x="1038098" y="229235"/>
                    <a:pt x="969645" y="224663"/>
                    <a:pt x="927417" y="224663"/>
                  </a:cubicBezTo>
                  <a:cubicBezTo>
                    <a:pt x="715264" y="224663"/>
                    <a:pt x="662750" y="302260"/>
                    <a:pt x="641096" y="360426"/>
                  </a:cubicBezTo>
                  <a:cubicBezTo>
                    <a:pt x="639953" y="363855"/>
                    <a:pt x="639953" y="368427"/>
                    <a:pt x="642239" y="371856"/>
                  </a:cubicBezTo>
                  <a:cubicBezTo>
                    <a:pt x="644525" y="375285"/>
                    <a:pt x="647954" y="377571"/>
                    <a:pt x="652526" y="377571"/>
                  </a:cubicBezTo>
                  <a:lnTo>
                    <a:pt x="739203" y="377571"/>
                  </a:lnTo>
                  <a:cubicBezTo>
                    <a:pt x="743775" y="377571"/>
                    <a:pt x="748348" y="375285"/>
                    <a:pt x="750634" y="370713"/>
                  </a:cubicBezTo>
                  <a:cubicBezTo>
                    <a:pt x="758635" y="355918"/>
                    <a:pt x="770001" y="339916"/>
                    <a:pt x="805371" y="326199"/>
                  </a:cubicBezTo>
                  <a:cubicBezTo>
                    <a:pt x="847598" y="309055"/>
                    <a:pt x="894334" y="306832"/>
                    <a:pt x="933133" y="306832"/>
                  </a:cubicBezTo>
                  <a:cubicBezTo>
                    <a:pt x="982218" y="306832"/>
                    <a:pt x="1025525" y="313690"/>
                    <a:pt x="1051750" y="325057"/>
                  </a:cubicBezTo>
                  <a:cubicBezTo>
                    <a:pt x="1106488" y="348996"/>
                    <a:pt x="1106488" y="391224"/>
                    <a:pt x="1105345" y="443674"/>
                  </a:cubicBezTo>
                  <a:lnTo>
                    <a:pt x="959358" y="443674"/>
                  </a:lnTo>
                  <a:cubicBezTo>
                    <a:pt x="879475" y="443674"/>
                    <a:pt x="780288" y="445961"/>
                    <a:pt x="727774" y="459677"/>
                  </a:cubicBezTo>
                  <a:cubicBezTo>
                    <a:pt x="650240" y="480187"/>
                    <a:pt x="604584" y="539496"/>
                    <a:pt x="604584" y="617093"/>
                  </a:cubicBezTo>
                  <a:cubicBezTo>
                    <a:pt x="604584" y="631952"/>
                    <a:pt x="606870" y="657035"/>
                    <a:pt x="618300" y="684403"/>
                  </a:cubicBezTo>
                  <a:moveTo>
                    <a:pt x="5150295" y="694690"/>
                  </a:moveTo>
                  <a:lnTo>
                    <a:pt x="5132007" y="694690"/>
                  </a:lnTo>
                  <a:lnTo>
                    <a:pt x="5132007" y="715201"/>
                  </a:lnTo>
                  <a:lnTo>
                    <a:pt x="5150295" y="715201"/>
                  </a:lnTo>
                  <a:cubicBezTo>
                    <a:pt x="5159438" y="715201"/>
                    <a:pt x="5161725" y="711772"/>
                    <a:pt x="5161725" y="704914"/>
                  </a:cubicBezTo>
                  <a:cubicBezTo>
                    <a:pt x="5161725" y="696913"/>
                    <a:pt x="5157153" y="694627"/>
                    <a:pt x="5150295" y="694627"/>
                  </a:cubicBezTo>
                  <a:moveTo>
                    <a:pt x="5161725" y="729996"/>
                  </a:moveTo>
                  <a:lnTo>
                    <a:pt x="5176584" y="756222"/>
                  </a:lnTo>
                  <a:lnTo>
                    <a:pt x="5175441" y="759651"/>
                  </a:lnTo>
                  <a:lnTo>
                    <a:pt x="5158359" y="759651"/>
                  </a:lnTo>
                  <a:lnTo>
                    <a:pt x="5156074" y="757365"/>
                  </a:lnTo>
                  <a:lnTo>
                    <a:pt x="5141214" y="731139"/>
                  </a:lnTo>
                  <a:lnTo>
                    <a:pt x="5132070" y="731139"/>
                  </a:lnTo>
                  <a:lnTo>
                    <a:pt x="5132070" y="757365"/>
                  </a:lnTo>
                  <a:lnTo>
                    <a:pt x="5129784" y="759651"/>
                  </a:lnTo>
                  <a:lnTo>
                    <a:pt x="5116068" y="759651"/>
                  </a:lnTo>
                  <a:lnTo>
                    <a:pt x="5113782" y="757365"/>
                  </a:lnTo>
                  <a:lnTo>
                    <a:pt x="5113782" y="679768"/>
                  </a:lnTo>
                  <a:lnTo>
                    <a:pt x="5116068" y="677482"/>
                  </a:lnTo>
                  <a:lnTo>
                    <a:pt x="5153724" y="677482"/>
                  </a:lnTo>
                  <a:cubicBezTo>
                    <a:pt x="5168583" y="677482"/>
                    <a:pt x="5179950" y="688912"/>
                    <a:pt x="5179950" y="703707"/>
                  </a:cubicBezTo>
                  <a:cubicBezTo>
                    <a:pt x="5181092" y="716280"/>
                    <a:pt x="5173091" y="726504"/>
                    <a:pt x="5161725" y="729933"/>
                  </a:cubicBezTo>
                  <a:moveTo>
                    <a:pt x="5145787" y="658051"/>
                  </a:moveTo>
                  <a:cubicBezTo>
                    <a:pt x="5113846" y="658051"/>
                    <a:pt x="5086477" y="684276"/>
                    <a:pt x="5086477" y="717360"/>
                  </a:cubicBezTo>
                  <a:cubicBezTo>
                    <a:pt x="5086477" y="750443"/>
                    <a:pt x="5112703" y="776669"/>
                    <a:pt x="5145787" y="776669"/>
                  </a:cubicBezTo>
                  <a:cubicBezTo>
                    <a:pt x="5178870" y="776669"/>
                    <a:pt x="5205095" y="750443"/>
                    <a:pt x="5205095" y="717360"/>
                  </a:cubicBezTo>
                  <a:cubicBezTo>
                    <a:pt x="5205095" y="684276"/>
                    <a:pt x="5177726" y="658051"/>
                    <a:pt x="5145787" y="658051"/>
                  </a:cubicBezTo>
                  <a:moveTo>
                    <a:pt x="5145787" y="792671"/>
                  </a:moveTo>
                  <a:cubicBezTo>
                    <a:pt x="5104701" y="792671"/>
                    <a:pt x="5070476" y="758444"/>
                    <a:pt x="5070476" y="717360"/>
                  </a:cubicBezTo>
                  <a:cubicBezTo>
                    <a:pt x="5070476" y="676275"/>
                    <a:pt x="5103559" y="642049"/>
                    <a:pt x="5145787" y="642049"/>
                  </a:cubicBezTo>
                  <a:cubicBezTo>
                    <a:pt x="5188013" y="642049"/>
                    <a:pt x="5221097" y="675132"/>
                    <a:pt x="5221097" y="717360"/>
                  </a:cubicBezTo>
                  <a:cubicBezTo>
                    <a:pt x="5221097" y="759587"/>
                    <a:pt x="5186871" y="792671"/>
                    <a:pt x="5145787" y="792671"/>
                  </a:cubicBezTo>
                </a:path>
              </a:pathLst>
            </a:custGeom>
            <a:solidFill>
              <a:srgbClr val="6650A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8" name="Group 4">
              <a:extLst>
                <a:ext uri="{FF2B5EF4-FFF2-40B4-BE49-F238E27FC236}">
                  <a16:creationId xmlns:a16="http://schemas.microsoft.com/office/drawing/2014/main" id="{52D47157-38B8-41CE-95A2-E4E1821AC00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0356627" y="6436359"/>
              <a:ext cx="250483" cy="250481"/>
              <a:chOff x="1790" y="108"/>
              <a:chExt cx="4104" cy="4104"/>
            </a:xfrm>
            <a:solidFill>
              <a:schemeClr val="accent1"/>
            </a:solidFill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967113AC-0DA7-A6B6-1AED-272FD9C40DB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90" y="108"/>
                <a:ext cx="4104" cy="4104"/>
              </a:xfrm>
              <a:custGeom>
                <a:avLst/>
                <a:gdLst>
                  <a:gd name="T0" fmla="*/ 864 w 1728"/>
                  <a:gd name="T1" fmla="*/ 18 h 1728"/>
                  <a:gd name="T2" fmla="*/ 266 w 1728"/>
                  <a:gd name="T3" fmla="*/ 266 h 1728"/>
                  <a:gd name="T4" fmla="*/ 18 w 1728"/>
                  <a:gd name="T5" fmla="*/ 864 h 1728"/>
                  <a:gd name="T6" fmla="*/ 266 w 1728"/>
                  <a:gd name="T7" fmla="*/ 1462 h 1728"/>
                  <a:gd name="T8" fmla="*/ 864 w 1728"/>
                  <a:gd name="T9" fmla="*/ 1710 h 1728"/>
                  <a:gd name="T10" fmla="*/ 1462 w 1728"/>
                  <a:gd name="T11" fmla="*/ 1462 h 1728"/>
                  <a:gd name="T12" fmla="*/ 1710 w 1728"/>
                  <a:gd name="T13" fmla="*/ 864 h 1728"/>
                  <a:gd name="T14" fmla="*/ 1462 w 1728"/>
                  <a:gd name="T15" fmla="*/ 266 h 1728"/>
                  <a:gd name="T16" fmla="*/ 864 w 1728"/>
                  <a:gd name="T17" fmla="*/ 18 h 1728"/>
                  <a:gd name="T18" fmla="*/ 864 w 1728"/>
                  <a:gd name="T19" fmla="*/ 1728 h 1728"/>
                  <a:gd name="T20" fmla="*/ 253 w 1728"/>
                  <a:gd name="T21" fmla="*/ 1475 h 1728"/>
                  <a:gd name="T22" fmla="*/ 0 w 1728"/>
                  <a:gd name="T23" fmla="*/ 864 h 1728"/>
                  <a:gd name="T24" fmla="*/ 253 w 1728"/>
                  <a:gd name="T25" fmla="*/ 253 h 1728"/>
                  <a:gd name="T26" fmla="*/ 864 w 1728"/>
                  <a:gd name="T27" fmla="*/ 0 h 1728"/>
                  <a:gd name="T28" fmla="*/ 1475 w 1728"/>
                  <a:gd name="T29" fmla="*/ 253 h 1728"/>
                  <a:gd name="T30" fmla="*/ 1728 w 1728"/>
                  <a:gd name="T31" fmla="*/ 864 h 1728"/>
                  <a:gd name="T32" fmla="*/ 1475 w 1728"/>
                  <a:gd name="T33" fmla="*/ 1475 h 1728"/>
                  <a:gd name="T34" fmla="*/ 864 w 1728"/>
                  <a:gd name="T35" fmla="*/ 1728 h 1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28" h="1728">
                    <a:moveTo>
                      <a:pt x="864" y="18"/>
                    </a:moveTo>
                    <a:cubicBezTo>
                      <a:pt x="638" y="18"/>
                      <a:pt x="426" y="106"/>
                      <a:pt x="266" y="266"/>
                    </a:cubicBezTo>
                    <a:cubicBezTo>
                      <a:pt x="106" y="426"/>
                      <a:pt x="18" y="638"/>
                      <a:pt x="18" y="864"/>
                    </a:cubicBezTo>
                    <a:cubicBezTo>
                      <a:pt x="18" y="1090"/>
                      <a:pt x="106" y="1302"/>
                      <a:pt x="266" y="1462"/>
                    </a:cubicBezTo>
                    <a:cubicBezTo>
                      <a:pt x="426" y="1622"/>
                      <a:pt x="638" y="1710"/>
                      <a:pt x="864" y="1710"/>
                    </a:cubicBezTo>
                    <a:cubicBezTo>
                      <a:pt x="1090" y="1710"/>
                      <a:pt x="1302" y="1622"/>
                      <a:pt x="1462" y="1462"/>
                    </a:cubicBezTo>
                    <a:cubicBezTo>
                      <a:pt x="1622" y="1302"/>
                      <a:pt x="1710" y="1090"/>
                      <a:pt x="1710" y="864"/>
                    </a:cubicBezTo>
                    <a:cubicBezTo>
                      <a:pt x="1710" y="638"/>
                      <a:pt x="1622" y="426"/>
                      <a:pt x="1462" y="266"/>
                    </a:cubicBezTo>
                    <a:cubicBezTo>
                      <a:pt x="1302" y="106"/>
                      <a:pt x="1090" y="18"/>
                      <a:pt x="864" y="18"/>
                    </a:cubicBezTo>
                    <a:moveTo>
                      <a:pt x="864" y="1728"/>
                    </a:moveTo>
                    <a:cubicBezTo>
                      <a:pt x="633" y="1728"/>
                      <a:pt x="416" y="1638"/>
                      <a:pt x="253" y="1475"/>
                    </a:cubicBezTo>
                    <a:cubicBezTo>
                      <a:pt x="90" y="1312"/>
                      <a:pt x="0" y="1095"/>
                      <a:pt x="0" y="864"/>
                    </a:cubicBezTo>
                    <a:cubicBezTo>
                      <a:pt x="0" y="633"/>
                      <a:pt x="90" y="416"/>
                      <a:pt x="253" y="253"/>
                    </a:cubicBezTo>
                    <a:cubicBezTo>
                      <a:pt x="416" y="90"/>
                      <a:pt x="633" y="0"/>
                      <a:pt x="864" y="0"/>
                    </a:cubicBezTo>
                    <a:cubicBezTo>
                      <a:pt x="1095" y="0"/>
                      <a:pt x="1312" y="90"/>
                      <a:pt x="1475" y="253"/>
                    </a:cubicBezTo>
                    <a:cubicBezTo>
                      <a:pt x="1638" y="416"/>
                      <a:pt x="1728" y="633"/>
                      <a:pt x="1728" y="864"/>
                    </a:cubicBezTo>
                    <a:cubicBezTo>
                      <a:pt x="1728" y="1095"/>
                      <a:pt x="1638" y="1312"/>
                      <a:pt x="1475" y="1475"/>
                    </a:cubicBezTo>
                    <a:cubicBezTo>
                      <a:pt x="1312" y="1638"/>
                      <a:pt x="1095" y="1728"/>
                      <a:pt x="864" y="172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FCDD3322-5D86-DBB7-2406-8F68C64306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2160"/>
                <a:ext cx="1061" cy="696"/>
              </a:xfrm>
              <a:custGeom>
                <a:avLst/>
                <a:gdLst>
                  <a:gd name="T0" fmla="*/ 163 w 447"/>
                  <a:gd name="T1" fmla="*/ 239 h 293"/>
                  <a:gd name="T2" fmla="*/ 95 w 447"/>
                  <a:gd name="T3" fmla="*/ 180 h 293"/>
                  <a:gd name="T4" fmla="*/ 67 w 447"/>
                  <a:gd name="T5" fmla="*/ 151 h 293"/>
                  <a:gd name="T6" fmla="*/ 43 w 447"/>
                  <a:gd name="T7" fmla="*/ 124 h 293"/>
                  <a:gd name="T8" fmla="*/ 24 w 447"/>
                  <a:gd name="T9" fmla="*/ 101 h 293"/>
                  <a:gd name="T10" fmla="*/ 10 w 447"/>
                  <a:gd name="T11" fmla="*/ 82 h 293"/>
                  <a:gd name="T12" fmla="*/ 1 w 447"/>
                  <a:gd name="T13" fmla="*/ 66 h 293"/>
                  <a:gd name="T14" fmla="*/ 0 w 447"/>
                  <a:gd name="T15" fmla="*/ 60 h 293"/>
                  <a:gd name="T16" fmla="*/ 1 w 447"/>
                  <a:gd name="T17" fmla="*/ 54 h 293"/>
                  <a:gd name="T18" fmla="*/ 9 w 447"/>
                  <a:gd name="T19" fmla="*/ 45 h 293"/>
                  <a:gd name="T20" fmla="*/ 24 w 447"/>
                  <a:gd name="T21" fmla="*/ 37 h 293"/>
                  <a:gd name="T22" fmla="*/ 76 w 447"/>
                  <a:gd name="T23" fmla="*/ 23 h 293"/>
                  <a:gd name="T24" fmla="*/ 111 w 447"/>
                  <a:gd name="T25" fmla="*/ 15 h 293"/>
                  <a:gd name="T26" fmla="*/ 150 w 447"/>
                  <a:gd name="T27" fmla="*/ 8 h 293"/>
                  <a:gd name="T28" fmla="*/ 241 w 447"/>
                  <a:gd name="T29" fmla="*/ 0 h 293"/>
                  <a:gd name="T30" fmla="*/ 330 w 447"/>
                  <a:gd name="T31" fmla="*/ 12 h 293"/>
                  <a:gd name="T32" fmla="*/ 369 w 447"/>
                  <a:gd name="T33" fmla="*/ 29 h 293"/>
                  <a:gd name="T34" fmla="*/ 402 w 447"/>
                  <a:gd name="T35" fmla="*/ 52 h 293"/>
                  <a:gd name="T36" fmla="*/ 442 w 447"/>
                  <a:gd name="T37" fmla="*/ 118 h 293"/>
                  <a:gd name="T38" fmla="*/ 447 w 447"/>
                  <a:gd name="T39" fmla="*/ 157 h 293"/>
                  <a:gd name="T40" fmla="*/ 441 w 447"/>
                  <a:gd name="T41" fmla="*/ 197 h 293"/>
                  <a:gd name="T42" fmla="*/ 433 w 447"/>
                  <a:gd name="T43" fmla="*/ 216 h 293"/>
                  <a:gd name="T44" fmla="*/ 423 w 447"/>
                  <a:gd name="T45" fmla="*/ 233 h 293"/>
                  <a:gd name="T46" fmla="*/ 396 w 447"/>
                  <a:gd name="T47" fmla="*/ 262 h 293"/>
                  <a:gd name="T48" fmla="*/ 362 w 447"/>
                  <a:gd name="T49" fmla="*/ 282 h 293"/>
                  <a:gd name="T50" fmla="*/ 324 w 447"/>
                  <a:gd name="T51" fmla="*/ 291 h 293"/>
                  <a:gd name="T52" fmla="*/ 284 w 447"/>
                  <a:gd name="T53" fmla="*/ 291 h 293"/>
                  <a:gd name="T54" fmla="*/ 243 w 447"/>
                  <a:gd name="T55" fmla="*/ 282 h 293"/>
                  <a:gd name="T56" fmla="*/ 163 w 447"/>
                  <a:gd name="T57" fmla="*/ 239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163" y="239"/>
                    </a:moveTo>
                    <a:cubicBezTo>
                      <a:pt x="137" y="220"/>
                      <a:pt x="115" y="199"/>
                      <a:pt x="95" y="180"/>
                    </a:cubicBezTo>
                    <a:cubicBezTo>
                      <a:pt x="85" y="170"/>
                      <a:pt x="75" y="160"/>
                      <a:pt x="67" y="151"/>
                    </a:cubicBezTo>
                    <a:cubicBezTo>
                      <a:pt x="58" y="141"/>
                      <a:pt x="50" y="133"/>
                      <a:pt x="43" y="124"/>
                    </a:cubicBezTo>
                    <a:cubicBezTo>
                      <a:pt x="36" y="116"/>
                      <a:pt x="29" y="108"/>
                      <a:pt x="24" y="101"/>
                    </a:cubicBezTo>
                    <a:cubicBezTo>
                      <a:pt x="18" y="94"/>
                      <a:pt x="13" y="88"/>
                      <a:pt x="10" y="82"/>
                    </a:cubicBezTo>
                    <a:cubicBezTo>
                      <a:pt x="6" y="76"/>
                      <a:pt x="3" y="71"/>
                      <a:pt x="1" y="66"/>
                    </a:cubicBezTo>
                    <a:cubicBezTo>
                      <a:pt x="1" y="64"/>
                      <a:pt x="0" y="62"/>
                      <a:pt x="0" y="60"/>
                    </a:cubicBezTo>
                    <a:cubicBezTo>
                      <a:pt x="0" y="58"/>
                      <a:pt x="0" y="56"/>
                      <a:pt x="1" y="54"/>
                    </a:cubicBezTo>
                    <a:cubicBezTo>
                      <a:pt x="2" y="51"/>
                      <a:pt x="4" y="48"/>
                      <a:pt x="9" y="45"/>
                    </a:cubicBezTo>
                    <a:cubicBezTo>
                      <a:pt x="12" y="42"/>
                      <a:pt x="18" y="40"/>
                      <a:pt x="24" y="37"/>
                    </a:cubicBezTo>
                    <a:cubicBezTo>
                      <a:pt x="37" y="32"/>
                      <a:pt x="55" y="28"/>
                      <a:pt x="76" y="23"/>
                    </a:cubicBezTo>
                    <a:cubicBezTo>
                      <a:pt x="87" y="20"/>
                      <a:pt x="98" y="17"/>
                      <a:pt x="111" y="15"/>
                    </a:cubicBezTo>
                    <a:cubicBezTo>
                      <a:pt x="123" y="12"/>
                      <a:pt x="137" y="10"/>
                      <a:pt x="150" y="8"/>
                    </a:cubicBezTo>
                    <a:cubicBezTo>
                      <a:pt x="178" y="3"/>
                      <a:pt x="209" y="0"/>
                      <a:pt x="241" y="0"/>
                    </a:cubicBezTo>
                    <a:cubicBezTo>
                      <a:pt x="273" y="0"/>
                      <a:pt x="303" y="4"/>
                      <a:pt x="330" y="12"/>
                    </a:cubicBezTo>
                    <a:cubicBezTo>
                      <a:pt x="344" y="16"/>
                      <a:pt x="357" y="22"/>
                      <a:pt x="369" y="29"/>
                    </a:cubicBezTo>
                    <a:cubicBezTo>
                      <a:pt x="381" y="35"/>
                      <a:pt x="392" y="43"/>
                      <a:pt x="402" y="52"/>
                    </a:cubicBezTo>
                    <a:cubicBezTo>
                      <a:pt x="421" y="70"/>
                      <a:pt x="435" y="93"/>
                      <a:pt x="442" y="118"/>
                    </a:cubicBezTo>
                    <a:cubicBezTo>
                      <a:pt x="446" y="131"/>
                      <a:pt x="447" y="144"/>
                      <a:pt x="447" y="157"/>
                    </a:cubicBezTo>
                    <a:cubicBezTo>
                      <a:pt x="447" y="170"/>
                      <a:pt x="445" y="184"/>
                      <a:pt x="441" y="197"/>
                    </a:cubicBezTo>
                    <a:cubicBezTo>
                      <a:pt x="438" y="204"/>
                      <a:pt x="436" y="210"/>
                      <a:pt x="433" y="216"/>
                    </a:cubicBezTo>
                    <a:cubicBezTo>
                      <a:pt x="430" y="222"/>
                      <a:pt x="426" y="228"/>
                      <a:pt x="423" y="233"/>
                    </a:cubicBezTo>
                    <a:cubicBezTo>
                      <a:pt x="415" y="244"/>
                      <a:pt x="406" y="254"/>
                      <a:pt x="396" y="262"/>
                    </a:cubicBezTo>
                    <a:cubicBezTo>
                      <a:pt x="385" y="270"/>
                      <a:pt x="374" y="277"/>
                      <a:pt x="362" y="282"/>
                    </a:cubicBezTo>
                    <a:cubicBezTo>
                      <a:pt x="350" y="287"/>
                      <a:pt x="337" y="290"/>
                      <a:pt x="324" y="291"/>
                    </a:cubicBezTo>
                    <a:cubicBezTo>
                      <a:pt x="311" y="293"/>
                      <a:pt x="297" y="293"/>
                      <a:pt x="284" y="291"/>
                    </a:cubicBezTo>
                    <a:cubicBezTo>
                      <a:pt x="270" y="290"/>
                      <a:pt x="257" y="287"/>
                      <a:pt x="243" y="282"/>
                    </a:cubicBezTo>
                    <a:cubicBezTo>
                      <a:pt x="215" y="273"/>
                      <a:pt x="189" y="258"/>
                      <a:pt x="163" y="2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7">
                <a:extLst>
                  <a:ext uri="{FF2B5EF4-FFF2-40B4-BE49-F238E27FC236}">
                    <a16:creationId xmlns:a16="http://schemas.microsoft.com/office/drawing/2014/main" id="{044D5296-C434-682C-2E0F-44E5FDF7CD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2490"/>
                <a:ext cx="805" cy="960"/>
              </a:xfrm>
              <a:custGeom>
                <a:avLst/>
                <a:gdLst>
                  <a:gd name="T0" fmla="*/ 33 w 339"/>
                  <a:gd name="T1" fmla="*/ 248 h 404"/>
                  <a:gd name="T2" fmla="*/ 12 w 339"/>
                  <a:gd name="T3" fmla="*/ 160 h 404"/>
                  <a:gd name="T4" fmla="*/ 7 w 339"/>
                  <a:gd name="T5" fmla="*/ 120 h 404"/>
                  <a:gd name="T6" fmla="*/ 3 w 339"/>
                  <a:gd name="T7" fmla="*/ 84 h 404"/>
                  <a:gd name="T8" fmla="*/ 1 w 339"/>
                  <a:gd name="T9" fmla="*/ 54 h 404"/>
                  <a:gd name="T10" fmla="*/ 1 w 339"/>
                  <a:gd name="T11" fmla="*/ 30 h 404"/>
                  <a:gd name="T12" fmla="*/ 3 w 339"/>
                  <a:gd name="T13" fmla="*/ 13 h 404"/>
                  <a:gd name="T14" fmla="*/ 6 w 339"/>
                  <a:gd name="T15" fmla="*/ 7 h 404"/>
                  <a:gd name="T16" fmla="*/ 10 w 339"/>
                  <a:gd name="T17" fmla="*/ 3 h 404"/>
                  <a:gd name="T18" fmla="*/ 22 w 339"/>
                  <a:gd name="T19" fmla="*/ 0 h 404"/>
                  <a:gd name="T20" fmla="*/ 39 w 339"/>
                  <a:gd name="T21" fmla="*/ 3 h 404"/>
                  <a:gd name="T22" fmla="*/ 62 w 339"/>
                  <a:gd name="T23" fmla="*/ 10 h 404"/>
                  <a:gd name="T24" fmla="*/ 90 w 339"/>
                  <a:gd name="T25" fmla="*/ 21 h 404"/>
                  <a:gd name="T26" fmla="*/ 158 w 339"/>
                  <a:gd name="T27" fmla="*/ 53 h 404"/>
                  <a:gd name="T28" fmla="*/ 236 w 339"/>
                  <a:gd name="T29" fmla="*/ 100 h 404"/>
                  <a:gd name="T30" fmla="*/ 301 w 339"/>
                  <a:gd name="T31" fmla="*/ 163 h 404"/>
                  <a:gd name="T32" fmla="*/ 335 w 339"/>
                  <a:gd name="T33" fmla="*/ 237 h 404"/>
                  <a:gd name="T34" fmla="*/ 338 w 339"/>
                  <a:gd name="T35" fmla="*/ 276 h 404"/>
                  <a:gd name="T36" fmla="*/ 330 w 339"/>
                  <a:gd name="T37" fmla="*/ 314 h 404"/>
                  <a:gd name="T38" fmla="*/ 311 w 339"/>
                  <a:gd name="T39" fmla="*/ 349 h 404"/>
                  <a:gd name="T40" fmla="*/ 282 w 339"/>
                  <a:gd name="T41" fmla="*/ 377 h 404"/>
                  <a:gd name="T42" fmla="*/ 265 w 339"/>
                  <a:gd name="T43" fmla="*/ 388 h 404"/>
                  <a:gd name="T44" fmla="*/ 246 w 339"/>
                  <a:gd name="T45" fmla="*/ 396 h 404"/>
                  <a:gd name="T46" fmla="*/ 208 w 339"/>
                  <a:gd name="T47" fmla="*/ 403 h 404"/>
                  <a:gd name="T48" fmla="*/ 169 w 339"/>
                  <a:gd name="T49" fmla="*/ 399 h 404"/>
                  <a:gd name="T50" fmla="*/ 132 w 339"/>
                  <a:gd name="T51" fmla="*/ 385 h 404"/>
                  <a:gd name="T52" fmla="*/ 100 w 339"/>
                  <a:gd name="T53" fmla="*/ 361 h 404"/>
                  <a:gd name="T54" fmla="*/ 72 w 339"/>
                  <a:gd name="T55" fmla="*/ 329 h 404"/>
                  <a:gd name="T56" fmla="*/ 33 w 339"/>
                  <a:gd name="T57" fmla="*/ 248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3" y="248"/>
                    </a:moveTo>
                    <a:cubicBezTo>
                      <a:pt x="23" y="217"/>
                      <a:pt x="17" y="187"/>
                      <a:pt x="12" y="160"/>
                    </a:cubicBezTo>
                    <a:cubicBezTo>
                      <a:pt x="10" y="146"/>
                      <a:pt x="8" y="133"/>
                      <a:pt x="7" y="120"/>
                    </a:cubicBezTo>
                    <a:cubicBezTo>
                      <a:pt x="5" y="107"/>
                      <a:pt x="4" y="95"/>
                      <a:pt x="3" y="84"/>
                    </a:cubicBezTo>
                    <a:cubicBezTo>
                      <a:pt x="2" y="73"/>
                      <a:pt x="1" y="63"/>
                      <a:pt x="1" y="54"/>
                    </a:cubicBezTo>
                    <a:cubicBezTo>
                      <a:pt x="0" y="45"/>
                      <a:pt x="0" y="37"/>
                      <a:pt x="1" y="30"/>
                    </a:cubicBezTo>
                    <a:cubicBezTo>
                      <a:pt x="1" y="23"/>
                      <a:pt x="2" y="18"/>
                      <a:pt x="3" y="13"/>
                    </a:cubicBezTo>
                    <a:cubicBezTo>
                      <a:pt x="4" y="11"/>
                      <a:pt x="5" y="9"/>
                      <a:pt x="6" y="7"/>
                    </a:cubicBezTo>
                    <a:cubicBezTo>
                      <a:pt x="7" y="6"/>
                      <a:pt x="8" y="4"/>
                      <a:pt x="10" y="3"/>
                    </a:cubicBezTo>
                    <a:cubicBezTo>
                      <a:pt x="13" y="1"/>
                      <a:pt x="17" y="0"/>
                      <a:pt x="22" y="0"/>
                    </a:cubicBezTo>
                    <a:cubicBezTo>
                      <a:pt x="26" y="0"/>
                      <a:pt x="32" y="1"/>
                      <a:pt x="39" y="3"/>
                    </a:cubicBezTo>
                    <a:cubicBezTo>
                      <a:pt x="46" y="4"/>
                      <a:pt x="53" y="7"/>
                      <a:pt x="62" y="10"/>
                    </a:cubicBezTo>
                    <a:cubicBezTo>
                      <a:pt x="70" y="13"/>
                      <a:pt x="80" y="17"/>
                      <a:pt x="90" y="21"/>
                    </a:cubicBezTo>
                    <a:cubicBezTo>
                      <a:pt x="110" y="30"/>
                      <a:pt x="133" y="40"/>
                      <a:pt x="158" y="53"/>
                    </a:cubicBezTo>
                    <a:cubicBezTo>
                      <a:pt x="184" y="66"/>
                      <a:pt x="210" y="81"/>
                      <a:pt x="236" y="100"/>
                    </a:cubicBezTo>
                    <a:cubicBezTo>
                      <a:pt x="262" y="119"/>
                      <a:pt x="284" y="140"/>
                      <a:pt x="301" y="163"/>
                    </a:cubicBezTo>
                    <a:cubicBezTo>
                      <a:pt x="318" y="186"/>
                      <a:pt x="330" y="211"/>
                      <a:pt x="335" y="237"/>
                    </a:cubicBezTo>
                    <a:cubicBezTo>
                      <a:pt x="338" y="250"/>
                      <a:pt x="339" y="263"/>
                      <a:pt x="338" y="276"/>
                    </a:cubicBezTo>
                    <a:cubicBezTo>
                      <a:pt x="337" y="289"/>
                      <a:pt x="334" y="302"/>
                      <a:pt x="330" y="314"/>
                    </a:cubicBezTo>
                    <a:cubicBezTo>
                      <a:pt x="325" y="326"/>
                      <a:pt x="319" y="338"/>
                      <a:pt x="311" y="349"/>
                    </a:cubicBezTo>
                    <a:cubicBezTo>
                      <a:pt x="303" y="359"/>
                      <a:pt x="293" y="369"/>
                      <a:pt x="282" y="377"/>
                    </a:cubicBezTo>
                    <a:cubicBezTo>
                      <a:pt x="276" y="381"/>
                      <a:pt x="271" y="385"/>
                      <a:pt x="265" y="388"/>
                    </a:cubicBezTo>
                    <a:cubicBezTo>
                      <a:pt x="259" y="391"/>
                      <a:pt x="252" y="393"/>
                      <a:pt x="246" y="396"/>
                    </a:cubicBezTo>
                    <a:cubicBezTo>
                      <a:pt x="234" y="400"/>
                      <a:pt x="220" y="402"/>
                      <a:pt x="208" y="403"/>
                    </a:cubicBezTo>
                    <a:cubicBezTo>
                      <a:pt x="195" y="404"/>
                      <a:pt x="181" y="402"/>
                      <a:pt x="169" y="399"/>
                    </a:cubicBezTo>
                    <a:cubicBezTo>
                      <a:pt x="156" y="396"/>
                      <a:pt x="144" y="391"/>
                      <a:pt x="132" y="385"/>
                    </a:cubicBezTo>
                    <a:cubicBezTo>
                      <a:pt x="121" y="378"/>
                      <a:pt x="110" y="370"/>
                      <a:pt x="100" y="361"/>
                    </a:cubicBezTo>
                    <a:cubicBezTo>
                      <a:pt x="90" y="352"/>
                      <a:pt x="80" y="341"/>
                      <a:pt x="72" y="329"/>
                    </a:cubicBezTo>
                    <a:cubicBezTo>
                      <a:pt x="55" y="306"/>
                      <a:pt x="43" y="278"/>
                      <a:pt x="33" y="2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">
                <a:extLst>
                  <a:ext uri="{FF2B5EF4-FFF2-40B4-BE49-F238E27FC236}">
                    <a16:creationId xmlns:a16="http://schemas.microsoft.com/office/drawing/2014/main" id="{C91F80AF-B9E5-E6E2-5164-EEE072749C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2576"/>
                <a:ext cx="675" cy="1099"/>
              </a:xfrm>
              <a:custGeom>
                <a:avLst/>
                <a:gdLst>
                  <a:gd name="T0" fmla="*/ 16 w 284"/>
                  <a:gd name="T1" fmla="*/ 212 h 463"/>
                  <a:gd name="T2" fmla="*/ 52 w 284"/>
                  <a:gd name="T3" fmla="*/ 128 h 463"/>
                  <a:gd name="T4" fmla="*/ 88 w 284"/>
                  <a:gd name="T5" fmla="*/ 62 h 463"/>
                  <a:gd name="T6" fmla="*/ 104 w 284"/>
                  <a:gd name="T7" fmla="*/ 37 h 463"/>
                  <a:gd name="T8" fmla="*/ 111 w 284"/>
                  <a:gd name="T9" fmla="*/ 26 h 463"/>
                  <a:gd name="T10" fmla="*/ 118 w 284"/>
                  <a:gd name="T11" fmla="*/ 17 h 463"/>
                  <a:gd name="T12" fmla="*/ 142 w 284"/>
                  <a:gd name="T13" fmla="*/ 0 h 463"/>
                  <a:gd name="T14" fmla="*/ 166 w 284"/>
                  <a:gd name="T15" fmla="*/ 17 h 463"/>
                  <a:gd name="T16" fmla="*/ 173 w 284"/>
                  <a:gd name="T17" fmla="*/ 26 h 463"/>
                  <a:gd name="T18" fmla="*/ 180 w 284"/>
                  <a:gd name="T19" fmla="*/ 37 h 463"/>
                  <a:gd name="T20" fmla="*/ 196 w 284"/>
                  <a:gd name="T21" fmla="*/ 62 h 463"/>
                  <a:gd name="T22" fmla="*/ 232 w 284"/>
                  <a:gd name="T23" fmla="*/ 128 h 463"/>
                  <a:gd name="T24" fmla="*/ 268 w 284"/>
                  <a:gd name="T25" fmla="*/ 212 h 463"/>
                  <a:gd name="T26" fmla="*/ 284 w 284"/>
                  <a:gd name="T27" fmla="*/ 301 h 463"/>
                  <a:gd name="T28" fmla="*/ 267 w 284"/>
                  <a:gd name="T29" fmla="*/ 381 h 463"/>
                  <a:gd name="T30" fmla="*/ 246 w 284"/>
                  <a:gd name="T31" fmla="*/ 414 h 463"/>
                  <a:gd name="T32" fmla="*/ 233 w 284"/>
                  <a:gd name="T33" fmla="*/ 428 h 463"/>
                  <a:gd name="T34" fmla="*/ 217 w 284"/>
                  <a:gd name="T35" fmla="*/ 440 h 463"/>
                  <a:gd name="T36" fmla="*/ 142 w 284"/>
                  <a:gd name="T37" fmla="*/ 463 h 463"/>
                  <a:gd name="T38" fmla="*/ 67 w 284"/>
                  <a:gd name="T39" fmla="*/ 440 h 463"/>
                  <a:gd name="T40" fmla="*/ 51 w 284"/>
                  <a:gd name="T41" fmla="*/ 428 h 463"/>
                  <a:gd name="T42" fmla="*/ 38 w 284"/>
                  <a:gd name="T43" fmla="*/ 414 h 463"/>
                  <a:gd name="T44" fmla="*/ 17 w 284"/>
                  <a:gd name="T45" fmla="*/ 381 h 463"/>
                  <a:gd name="T46" fmla="*/ 0 w 284"/>
                  <a:gd name="T47" fmla="*/ 301 h 463"/>
                  <a:gd name="T48" fmla="*/ 16 w 284"/>
                  <a:gd name="T49" fmla="*/ 21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16" y="212"/>
                    </a:moveTo>
                    <a:cubicBezTo>
                      <a:pt x="26" y="181"/>
                      <a:pt x="39" y="154"/>
                      <a:pt x="52" y="128"/>
                    </a:cubicBezTo>
                    <a:cubicBezTo>
                      <a:pt x="64" y="103"/>
                      <a:pt x="77" y="81"/>
                      <a:pt x="88" y="62"/>
                    </a:cubicBezTo>
                    <a:cubicBezTo>
                      <a:pt x="94" y="53"/>
                      <a:pt x="99" y="44"/>
                      <a:pt x="104" y="37"/>
                    </a:cubicBezTo>
                    <a:cubicBezTo>
                      <a:pt x="107" y="33"/>
                      <a:pt x="109" y="29"/>
                      <a:pt x="111" y="26"/>
                    </a:cubicBezTo>
                    <a:cubicBezTo>
                      <a:pt x="114" y="23"/>
                      <a:pt x="116" y="20"/>
                      <a:pt x="118" y="17"/>
                    </a:cubicBezTo>
                    <a:cubicBezTo>
                      <a:pt x="127" y="6"/>
                      <a:pt x="134" y="0"/>
                      <a:pt x="142" y="0"/>
                    </a:cubicBezTo>
                    <a:cubicBezTo>
                      <a:pt x="150" y="0"/>
                      <a:pt x="157" y="6"/>
                      <a:pt x="166" y="17"/>
                    </a:cubicBezTo>
                    <a:cubicBezTo>
                      <a:pt x="168" y="20"/>
                      <a:pt x="170" y="23"/>
                      <a:pt x="173" y="26"/>
                    </a:cubicBezTo>
                    <a:cubicBezTo>
                      <a:pt x="175" y="29"/>
                      <a:pt x="177" y="33"/>
                      <a:pt x="180" y="37"/>
                    </a:cubicBezTo>
                    <a:cubicBezTo>
                      <a:pt x="185" y="44"/>
                      <a:pt x="190" y="53"/>
                      <a:pt x="196" y="62"/>
                    </a:cubicBezTo>
                    <a:cubicBezTo>
                      <a:pt x="207" y="81"/>
                      <a:pt x="220" y="103"/>
                      <a:pt x="232" y="128"/>
                    </a:cubicBezTo>
                    <a:cubicBezTo>
                      <a:pt x="245" y="154"/>
                      <a:pt x="258" y="181"/>
                      <a:pt x="268" y="212"/>
                    </a:cubicBezTo>
                    <a:cubicBezTo>
                      <a:pt x="278" y="242"/>
                      <a:pt x="284" y="272"/>
                      <a:pt x="284" y="301"/>
                    </a:cubicBezTo>
                    <a:cubicBezTo>
                      <a:pt x="284" y="330"/>
                      <a:pt x="279" y="357"/>
                      <a:pt x="267" y="381"/>
                    </a:cubicBezTo>
                    <a:cubicBezTo>
                      <a:pt x="262" y="393"/>
                      <a:pt x="255" y="404"/>
                      <a:pt x="246" y="414"/>
                    </a:cubicBezTo>
                    <a:cubicBezTo>
                      <a:pt x="242" y="419"/>
                      <a:pt x="238" y="424"/>
                      <a:pt x="233" y="428"/>
                    </a:cubicBezTo>
                    <a:cubicBezTo>
                      <a:pt x="228" y="432"/>
                      <a:pt x="223" y="436"/>
                      <a:pt x="217" y="440"/>
                    </a:cubicBezTo>
                    <a:cubicBezTo>
                      <a:pt x="196" y="455"/>
                      <a:pt x="170" y="463"/>
                      <a:pt x="142" y="463"/>
                    </a:cubicBezTo>
                    <a:cubicBezTo>
                      <a:pt x="114" y="463"/>
                      <a:pt x="88" y="455"/>
                      <a:pt x="67" y="440"/>
                    </a:cubicBezTo>
                    <a:cubicBezTo>
                      <a:pt x="61" y="436"/>
                      <a:pt x="56" y="432"/>
                      <a:pt x="51" y="428"/>
                    </a:cubicBezTo>
                    <a:cubicBezTo>
                      <a:pt x="46" y="424"/>
                      <a:pt x="42" y="419"/>
                      <a:pt x="38" y="414"/>
                    </a:cubicBezTo>
                    <a:cubicBezTo>
                      <a:pt x="29" y="404"/>
                      <a:pt x="22" y="393"/>
                      <a:pt x="17" y="381"/>
                    </a:cubicBezTo>
                    <a:cubicBezTo>
                      <a:pt x="5" y="357"/>
                      <a:pt x="0" y="330"/>
                      <a:pt x="0" y="301"/>
                    </a:cubicBezTo>
                    <a:cubicBezTo>
                      <a:pt x="0" y="272"/>
                      <a:pt x="6" y="242"/>
                      <a:pt x="16" y="2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9">
                <a:extLst>
                  <a:ext uri="{FF2B5EF4-FFF2-40B4-BE49-F238E27FC236}">
                    <a16:creationId xmlns:a16="http://schemas.microsoft.com/office/drawing/2014/main" id="{4DED124F-CD3F-D528-6B5E-A04C2C1DD5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2490"/>
                <a:ext cx="806" cy="960"/>
              </a:xfrm>
              <a:custGeom>
                <a:avLst/>
                <a:gdLst>
                  <a:gd name="T0" fmla="*/ 103 w 339"/>
                  <a:gd name="T1" fmla="*/ 100 h 404"/>
                  <a:gd name="T2" fmla="*/ 181 w 339"/>
                  <a:gd name="T3" fmla="*/ 53 h 404"/>
                  <a:gd name="T4" fmla="*/ 249 w 339"/>
                  <a:gd name="T5" fmla="*/ 21 h 404"/>
                  <a:gd name="T6" fmla="*/ 277 w 339"/>
                  <a:gd name="T7" fmla="*/ 10 h 404"/>
                  <a:gd name="T8" fmla="*/ 300 w 339"/>
                  <a:gd name="T9" fmla="*/ 3 h 404"/>
                  <a:gd name="T10" fmla="*/ 317 w 339"/>
                  <a:gd name="T11" fmla="*/ 0 h 404"/>
                  <a:gd name="T12" fmla="*/ 329 w 339"/>
                  <a:gd name="T13" fmla="*/ 3 h 404"/>
                  <a:gd name="T14" fmla="*/ 333 w 339"/>
                  <a:gd name="T15" fmla="*/ 7 h 404"/>
                  <a:gd name="T16" fmla="*/ 336 w 339"/>
                  <a:gd name="T17" fmla="*/ 13 h 404"/>
                  <a:gd name="T18" fmla="*/ 338 w 339"/>
                  <a:gd name="T19" fmla="*/ 30 h 404"/>
                  <a:gd name="T20" fmla="*/ 338 w 339"/>
                  <a:gd name="T21" fmla="*/ 54 h 404"/>
                  <a:gd name="T22" fmla="*/ 336 w 339"/>
                  <a:gd name="T23" fmla="*/ 84 h 404"/>
                  <a:gd name="T24" fmla="*/ 332 w 339"/>
                  <a:gd name="T25" fmla="*/ 120 h 404"/>
                  <a:gd name="T26" fmla="*/ 327 w 339"/>
                  <a:gd name="T27" fmla="*/ 160 h 404"/>
                  <a:gd name="T28" fmla="*/ 306 w 339"/>
                  <a:gd name="T29" fmla="*/ 248 h 404"/>
                  <a:gd name="T30" fmla="*/ 267 w 339"/>
                  <a:gd name="T31" fmla="*/ 329 h 404"/>
                  <a:gd name="T32" fmla="*/ 239 w 339"/>
                  <a:gd name="T33" fmla="*/ 361 h 404"/>
                  <a:gd name="T34" fmla="*/ 207 w 339"/>
                  <a:gd name="T35" fmla="*/ 385 h 404"/>
                  <a:gd name="T36" fmla="*/ 170 w 339"/>
                  <a:gd name="T37" fmla="*/ 399 h 404"/>
                  <a:gd name="T38" fmla="*/ 131 w 339"/>
                  <a:gd name="T39" fmla="*/ 403 h 404"/>
                  <a:gd name="T40" fmla="*/ 93 w 339"/>
                  <a:gd name="T41" fmla="*/ 396 h 404"/>
                  <a:gd name="T42" fmla="*/ 74 w 339"/>
                  <a:gd name="T43" fmla="*/ 388 h 404"/>
                  <a:gd name="T44" fmla="*/ 57 w 339"/>
                  <a:gd name="T45" fmla="*/ 377 h 404"/>
                  <a:gd name="T46" fmla="*/ 28 w 339"/>
                  <a:gd name="T47" fmla="*/ 349 h 404"/>
                  <a:gd name="T48" fmla="*/ 9 w 339"/>
                  <a:gd name="T49" fmla="*/ 314 h 404"/>
                  <a:gd name="T50" fmla="*/ 1 w 339"/>
                  <a:gd name="T51" fmla="*/ 276 h 404"/>
                  <a:gd name="T52" fmla="*/ 4 w 339"/>
                  <a:gd name="T53" fmla="*/ 237 h 404"/>
                  <a:gd name="T54" fmla="*/ 38 w 339"/>
                  <a:gd name="T55" fmla="*/ 163 h 404"/>
                  <a:gd name="T56" fmla="*/ 103 w 339"/>
                  <a:gd name="T57" fmla="*/ 10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103" y="100"/>
                    </a:moveTo>
                    <a:cubicBezTo>
                      <a:pt x="129" y="81"/>
                      <a:pt x="155" y="66"/>
                      <a:pt x="181" y="53"/>
                    </a:cubicBezTo>
                    <a:cubicBezTo>
                      <a:pt x="206" y="40"/>
                      <a:pt x="229" y="30"/>
                      <a:pt x="249" y="21"/>
                    </a:cubicBezTo>
                    <a:cubicBezTo>
                      <a:pt x="259" y="17"/>
                      <a:pt x="269" y="13"/>
                      <a:pt x="277" y="10"/>
                    </a:cubicBezTo>
                    <a:cubicBezTo>
                      <a:pt x="286" y="7"/>
                      <a:pt x="293" y="4"/>
                      <a:pt x="300" y="3"/>
                    </a:cubicBezTo>
                    <a:cubicBezTo>
                      <a:pt x="307" y="1"/>
                      <a:pt x="313" y="0"/>
                      <a:pt x="317" y="0"/>
                    </a:cubicBezTo>
                    <a:cubicBezTo>
                      <a:pt x="322" y="0"/>
                      <a:pt x="326" y="1"/>
                      <a:pt x="329" y="3"/>
                    </a:cubicBezTo>
                    <a:cubicBezTo>
                      <a:pt x="331" y="4"/>
                      <a:pt x="332" y="6"/>
                      <a:pt x="333" y="7"/>
                    </a:cubicBezTo>
                    <a:cubicBezTo>
                      <a:pt x="334" y="9"/>
                      <a:pt x="335" y="11"/>
                      <a:pt x="336" y="13"/>
                    </a:cubicBezTo>
                    <a:cubicBezTo>
                      <a:pt x="337" y="18"/>
                      <a:pt x="338" y="23"/>
                      <a:pt x="338" y="30"/>
                    </a:cubicBezTo>
                    <a:cubicBezTo>
                      <a:pt x="339" y="37"/>
                      <a:pt x="339" y="45"/>
                      <a:pt x="338" y="54"/>
                    </a:cubicBezTo>
                    <a:cubicBezTo>
                      <a:pt x="338" y="63"/>
                      <a:pt x="337" y="73"/>
                      <a:pt x="336" y="84"/>
                    </a:cubicBezTo>
                    <a:cubicBezTo>
                      <a:pt x="335" y="95"/>
                      <a:pt x="334" y="107"/>
                      <a:pt x="332" y="120"/>
                    </a:cubicBezTo>
                    <a:cubicBezTo>
                      <a:pt x="331" y="133"/>
                      <a:pt x="329" y="146"/>
                      <a:pt x="327" y="160"/>
                    </a:cubicBezTo>
                    <a:cubicBezTo>
                      <a:pt x="322" y="187"/>
                      <a:pt x="316" y="217"/>
                      <a:pt x="306" y="248"/>
                    </a:cubicBezTo>
                    <a:cubicBezTo>
                      <a:pt x="297" y="278"/>
                      <a:pt x="284" y="306"/>
                      <a:pt x="267" y="329"/>
                    </a:cubicBezTo>
                    <a:cubicBezTo>
                      <a:pt x="259" y="341"/>
                      <a:pt x="249" y="352"/>
                      <a:pt x="239" y="361"/>
                    </a:cubicBezTo>
                    <a:cubicBezTo>
                      <a:pt x="229" y="370"/>
                      <a:pt x="218" y="378"/>
                      <a:pt x="207" y="385"/>
                    </a:cubicBezTo>
                    <a:cubicBezTo>
                      <a:pt x="195" y="391"/>
                      <a:pt x="183" y="396"/>
                      <a:pt x="170" y="399"/>
                    </a:cubicBezTo>
                    <a:cubicBezTo>
                      <a:pt x="158" y="402"/>
                      <a:pt x="144" y="404"/>
                      <a:pt x="131" y="403"/>
                    </a:cubicBezTo>
                    <a:cubicBezTo>
                      <a:pt x="119" y="402"/>
                      <a:pt x="105" y="400"/>
                      <a:pt x="93" y="396"/>
                    </a:cubicBezTo>
                    <a:cubicBezTo>
                      <a:pt x="87" y="393"/>
                      <a:pt x="80" y="391"/>
                      <a:pt x="74" y="388"/>
                    </a:cubicBezTo>
                    <a:cubicBezTo>
                      <a:pt x="68" y="385"/>
                      <a:pt x="63" y="381"/>
                      <a:pt x="57" y="377"/>
                    </a:cubicBezTo>
                    <a:cubicBezTo>
                      <a:pt x="46" y="369"/>
                      <a:pt x="36" y="359"/>
                      <a:pt x="28" y="349"/>
                    </a:cubicBezTo>
                    <a:cubicBezTo>
                      <a:pt x="20" y="338"/>
                      <a:pt x="14" y="326"/>
                      <a:pt x="9" y="314"/>
                    </a:cubicBezTo>
                    <a:cubicBezTo>
                      <a:pt x="5" y="302"/>
                      <a:pt x="2" y="289"/>
                      <a:pt x="1" y="276"/>
                    </a:cubicBezTo>
                    <a:cubicBezTo>
                      <a:pt x="0" y="263"/>
                      <a:pt x="1" y="250"/>
                      <a:pt x="4" y="237"/>
                    </a:cubicBezTo>
                    <a:cubicBezTo>
                      <a:pt x="9" y="211"/>
                      <a:pt x="21" y="186"/>
                      <a:pt x="38" y="163"/>
                    </a:cubicBezTo>
                    <a:cubicBezTo>
                      <a:pt x="55" y="140"/>
                      <a:pt x="77" y="119"/>
                      <a:pt x="103" y="10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0">
                <a:extLst>
                  <a:ext uri="{FF2B5EF4-FFF2-40B4-BE49-F238E27FC236}">
                    <a16:creationId xmlns:a16="http://schemas.microsoft.com/office/drawing/2014/main" id="{E5232FED-20F3-7692-40FB-5BDB0A41A4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60"/>
                <a:ext cx="1061" cy="696"/>
              </a:xfrm>
              <a:custGeom>
                <a:avLst/>
                <a:gdLst>
                  <a:gd name="T0" fmla="*/ 206 w 447"/>
                  <a:gd name="T1" fmla="*/ 0 h 293"/>
                  <a:gd name="T2" fmla="*/ 297 w 447"/>
                  <a:gd name="T3" fmla="*/ 8 h 293"/>
                  <a:gd name="T4" fmla="*/ 336 w 447"/>
                  <a:gd name="T5" fmla="*/ 15 h 293"/>
                  <a:gd name="T6" fmla="*/ 371 w 447"/>
                  <a:gd name="T7" fmla="*/ 23 h 293"/>
                  <a:gd name="T8" fmla="*/ 423 w 447"/>
                  <a:gd name="T9" fmla="*/ 37 h 293"/>
                  <a:gd name="T10" fmla="*/ 438 w 447"/>
                  <a:gd name="T11" fmla="*/ 45 h 293"/>
                  <a:gd name="T12" fmla="*/ 446 w 447"/>
                  <a:gd name="T13" fmla="*/ 54 h 293"/>
                  <a:gd name="T14" fmla="*/ 447 w 447"/>
                  <a:gd name="T15" fmla="*/ 60 h 293"/>
                  <a:gd name="T16" fmla="*/ 446 w 447"/>
                  <a:gd name="T17" fmla="*/ 66 h 293"/>
                  <a:gd name="T18" fmla="*/ 437 w 447"/>
                  <a:gd name="T19" fmla="*/ 82 h 293"/>
                  <a:gd name="T20" fmla="*/ 423 w 447"/>
                  <a:gd name="T21" fmla="*/ 101 h 293"/>
                  <a:gd name="T22" fmla="*/ 404 w 447"/>
                  <a:gd name="T23" fmla="*/ 124 h 293"/>
                  <a:gd name="T24" fmla="*/ 380 w 447"/>
                  <a:gd name="T25" fmla="*/ 151 h 293"/>
                  <a:gd name="T26" fmla="*/ 352 w 447"/>
                  <a:gd name="T27" fmla="*/ 180 h 293"/>
                  <a:gd name="T28" fmla="*/ 284 w 447"/>
                  <a:gd name="T29" fmla="*/ 239 h 293"/>
                  <a:gd name="T30" fmla="*/ 204 w 447"/>
                  <a:gd name="T31" fmla="*/ 282 h 293"/>
                  <a:gd name="T32" fmla="*/ 163 w 447"/>
                  <a:gd name="T33" fmla="*/ 291 h 293"/>
                  <a:gd name="T34" fmla="*/ 123 w 447"/>
                  <a:gd name="T35" fmla="*/ 291 h 293"/>
                  <a:gd name="T36" fmla="*/ 85 w 447"/>
                  <a:gd name="T37" fmla="*/ 282 h 293"/>
                  <a:gd name="T38" fmla="*/ 51 w 447"/>
                  <a:gd name="T39" fmla="*/ 262 h 293"/>
                  <a:gd name="T40" fmla="*/ 24 w 447"/>
                  <a:gd name="T41" fmla="*/ 233 h 293"/>
                  <a:gd name="T42" fmla="*/ 14 w 447"/>
                  <a:gd name="T43" fmla="*/ 216 h 293"/>
                  <a:gd name="T44" fmla="*/ 6 w 447"/>
                  <a:gd name="T45" fmla="*/ 197 h 293"/>
                  <a:gd name="T46" fmla="*/ 0 w 447"/>
                  <a:gd name="T47" fmla="*/ 157 h 293"/>
                  <a:gd name="T48" fmla="*/ 5 w 447"/>
                  <a:gd name="T49" fmla="*/ 118 h 293"/>
                  <a:gd name="T50" fmla="*/ 45 w 447"/>
                  <a:gd name="T51" fmla="*/ 52 h 293"/>
                  <a:gd name="T52" fmla="*/ 78 w 447"/>
                  <a:gd name="T53" fmla="*/ 29 h 293"/>
                  <a:gd name="T54" fmla="*/ 117 w 447"/>
                  <a:gd name="T55" fmla="*/ 12 h 293"/>
                  <a:gd name="T56" fmla="*/ 206 w 447"/>
                  <a:gd name="T57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06" y="0"/>
                    </a:moveTo>
                    <a:cubicBezTo>
                      <a:pt x="238" y="0"/>
                      <a:pt x="269" y="3"/>
                      <a:pt x="297" y="8"/>
                    </a:cubicBezTo>
                    <a:cubicBezTo>
                      <a:pt x="310" y="10"/>
                      <a:pt x="324" y="12"/>
                      <a:pt x="336" y="15"/>
                    </a:cubicBezTo>
                    <a:cubicBezTo>
                      <a:pt x="349" y="17"/>
                      <a:pt x="360" y="20"/>
                      <a:pt x="371" y="23"/>
                    </a:cubicBezTo>
                    <a:cubicBezTo>
                      <a:pt x="392" y="28"/>
                      <a:pt x="410" y="32"/>
                      <a:pt x="423" y="37"/>
                    </a:cubicBezTo>
                    <a:cubicBezTo>
                      <a:pt x="429" y="40"/>
                      <a:pt x="435" y="42"/>
                      <a:pt x="438" y="45"/>
                    </a:cubicBezTo>
                    <a:cubicBezTo>
                      <a:pt x="443" y="48"/>
                      <a:pt x="445" y="51"/>
                      <a:pt x="446" y="54"/>
                    </a:cubicBezTo>
                    <a:cubicBezTo>
                      <a:pt x="447" y="56"/>
                      <a:pt x="447" y="58"/>
                      <a:pt x="447" y="60"/>
                    </a:cubicBezTo>
                    <a:cubicBezTo>
                      <a:pt x="447" y="62"/>
                      <a:pt x="446" y="64"/>
                      <a:pt x="446" y="66"/>
                    </a:cubicBezTo>
                    <a:cubicBezTo>
                      <a:pt x="444" y="71"/>
                      <a:pt x="441" y="76"/>
                      <a:pt x="437" y="82"/>
                    </a:cubicBezTo>
                    <a:cubicBezTo>
                      <a:pt x="434" y="88"/>
                      <a:pt x="429" y="94"/>
                      <a:pt x="423" y="101"/>
                    </a:cubicBezTo>
                    <a:cubicBezTo>
                      <a:pt x="418" y="108"/>
                      <a:pt x="411" y="116"/>
                      <a:pt x="404" y="124"/>
                    </a:cubicBezTo>
                    <a:cubicBezTo>
                      <a:pt x="397" y="133"/>
                      <a:pt x="389" y="141"/>
                      <a:pt x="380" y="151"/>
                    </a:cubicBezTo>
                    <a:cubicBezTo>
                      <a:pt x="372" y="160"/>
                      <a:pt x="362" y="170"/>
                      <a:pt x="352" y="180"/>
                    </a:cubicBezTo>
                    <a:cubicBezTo>
                      <a:pt x="332" y="199"/>
                      <a:pt x="310" y="220"/>
                      <a:pt x="284" y="239"/>
                    </a:cubicBezTo>
                    <a:cubicBezTo>
                      <a:pt x="258" y="258"/>
                      <a:pt x="232" y="273"/>
                      <a:pt x="204" y="282"/>
                    </a:cubicBezTo>
                    <a:cubicBezTo>
                      <a:pt x="190" y="287"/>
                      <a:pt x="177" y="290"/>
                      <a:pt x="163" y="291"/>
                    </a:cubicBezTo>
                    <a:cubicBezTo>
                      <a:pt x="150" y="293"/>
                      <a:pt x="136" y="293"/>
                      <a:pt x="123" y="291"/>
                    </a:cubicBezTo>
                    <a:cubicBezTo>
                      <a:pt x="110" y="290"/>
                      <a:pt x="97" y="287"/>
                      <a:pt x="85" y="282"/>
                    </a:cubicBezTo>
                    <a:cubicBezTo>
                      <a:pt x="73" y="277"/>
                      <a:pt x="62" y="270"/>
                      <a:pt x="51" y="262"/>
                    </a:cubicBezTo>
                    <a:cubicBezTo>
                      <a:pt x="41" y="254"/>
                      <a:pt x="32" y="244"/>
                      <a:pt x="24" y="233"/>
                    </a:cubicBezTo>
                    <a:cubicBezTo>
                      <a:pt x="21" y="228"/>
                      <a:pt x="17" y="222"/>
                      <a:pt x="14" y="216"/>
                    </a:cubicBezTo>
                    <a:cubicBezTo>
                      <a:pt x="11" y="210"/>
                      <a:pt x="9" y="204"/>
                      <a:pt x="6" y="197"/>
                    </a:cubicBezTo>
                    <a:cubicBezTo>
                      <a:pt x="2" y="184"/>
                      <a:pt x="0" y="170"/>
                      <a:pt x="0" y="157"/>
                    </a:cubicBezTo>
                    <a:cubicBezTo>
                      <a:pt x="0" y="144"/>
                      <a:pt x="1" y="131"/>
                      <a:pt x="5" y="118"/>
                    </a:cubicBezTo>
                    <a:cubicBezTo>
                      <a:pt x="12" y="93"/>
                      <a:pt x="26" y="70"/>
                      <a:pt x="45" y="52"/>
                    </a:cubicBezTo>
                    <a:cubicBezTo>
                      <a:pt x="55" y="43"/>
                      <a:pt x="66" y="35"/>
                      <a:pt x="78" y="29"/>
                    </a:cubicBezTo>
                    <a:cubicBezTo>
                      <a:pt x="90" y="22"/>
                      <a:pt x="103" y="16"/>
                      <a:pt x="117" y="12"/>
                    </a:cubicBezTo>
                    <a:cubicBezTo>
                      <a:pt x="144" y="4"/>
                      <a:pt x="174" y="0"/>
                      <a:pt x="20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1">
                <a:extLst>
                  <a:ext uri="{FF2B5EF4-FFF2-40B4-BE49-F238E27FC236}">
                    <a16:creationId xmlns:a16="http://schemas.microsoft.com/office/drawing/2014/main" id="{DC897C8B-3006-73DC-D7CE-0424C5139B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1464"/>
                <a:ext cx="1061" cy="696"/>
              </a:xfrm>
              <a:custGeom>
                <a:avLst/>
                <a:gdLst>
                  <a:gd name="T0" fmla="*/ 284 w 447"/>
                  <a:gd name="T1" fmla="*/ 54 h 293"/>
                  <a:gd name="T2" fmla="*/ 352 w 447"/>
                  <a:gd name="T3" fmla="*/ 113 h 293"/>
                  <a:gd name="T4" fmla="*/ 380 w 447"/>
                  <a:gd name="T5" fmla="*/ 142 h 293"/>
                  <a:gd name="T6" fmla="*/ 404 w 447"/>
                  <a:gd name="T7" fmla="*/ 169 h 293"/>
                  <a:gd name="T8" fmla="*/ 423 w 447"/>
                  <a:gd name="T9" fmla="*/ 192 h 293"/>
                  <a:gd name="T10" fmla="*/ 437 w 447"/>
                  <a:gd name="T11" fmla="*/ 211 h 293"/>
                  <a:gd name="T12" fmla="*/ 446 w 447"/>
                  <a:gd name="T13" fmla="*/ 227 h 293"/>
                  <a:gd name="T14" fmla="*/ 447 w 447"/>
                  <a:gd name="T15" fmla="*/ 233 h 293"/>
                  <a:gd name="T16" fmla="*/ 446 w 447"/>
                  <a:gd name="T17" fmla="*/ 239 h 293"/>
                  <a:gd name="T18" fmla="*/ 438 w 447"/>
                  <a:gd name="T19" fmla="*/ 248 h 293"/>
                  <a:gd name="T20" fmla="*/ 423 w 447"/>
                  <a:gd name="T21" fmla="*/ 256 h 293"/>
                  <a:gd name="T22" fmla="*/ 371 w 447"/>
                  <a:gd name="T23" fmla="*/ 270 h 293"/>
                  <a:gd name="T24" fmla="*/ 336 w 447"/>
                  <a:gd name="T25" fmla="*/ 278 h 293"/>
                  <a:gd name="T26" fmla="*/ 297 w 447"/>
                  <a:gd name="T27" fmla="*/ 285 h 293"/>
                  <a:gd name="T28" fmla="*/ 206 w 447"/>
                  <a:gd name="T29" fmla="*/ 293 h 293"/>
                  <a:gd name="T30" fmla="*/ 117 w 447"/>
                  <a:gd name="T31" fmla="*/ 281 h 293"/>
                  <a:gd name="T32" fmla="*/ 78 w 447"/>
                  <a:gd name="T33" fmla="*/ 264 h 293"/>
                  <a:gd name="T34" fmla="*/ 45 w 447"/>
                  <a:gd name="T35" fmla="*/ 241 h 293"/>
                  <a:gd name="T36" fmla="*/ 5 w 447"/>
                  <a:gd name="T37" fmla="*/ 175 h 293"/>
                  <a:gd name="T38" fmla="*/ 0 w 447"/>
                  <a:gd name="T39" fmla="*/ 136 h 293"/>
                  <a:gd name="T40" fmla="*/ 6 w 447"/>
                  <a:gd name="T41" fmla="*/ 96 h 293"/>
                  <a:gd name="T42" fmla="*/ 14 w 447"/>
                  <a:gd name="T43" fmla="*/ 77 h 293"/>
                  <a:gd name="T44" fmla="*/ 24 w 447"/>
                  <a:gd name="T45" fmla="*/ 60 h 293"/>
                  <a:gd name="T46" fmla="*/ 51 w 447"/>
                  <a:gd name="T47" fmla="*/ 31 h 293"/>
                  <a:gd name="T48" fmla="*/ 85 w 447"/>
                  <a:gd name="T49" fmla="*/ 11 h 293"/>
                  <a:gd name="T50" fmla="*/ 123 w 447"/>
                  <a:gd name="T51" fmla="*/ 2 h 293"/>
                  <a:gd name="T52" fmla="*/ 163 w 447"/>
                  <a:gd name="T53" fmla="*/ 2 h 293"/>
                  <a:gd name="T54" fmla="*/ 204 w 447"/>
                  <a:gd name="T55" fmla="*/ 11 h 293"/>
                  <a:gd name="T56" fmla="*/ 284 w 447"/>
                  <a:gd name="T57" fmla="*/ 54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84" y="54"/>
                    </a:moveTo>
                    <a:cubicBezTo>
                      <a:pt x="310" y="73"/>
                      <a:pt x="332" y="94"/>
                      <a:pt x="352" y="113"/>
                    </a:cubicBezTo>
                    <a:cubicBezTo>
                      <a:pt x="362" y="123"/>
                      <a:pt x="372" y="133"/>
                      <a:pt x="380" y="142"/>
                    </a:cubicBezTo>
                    <a:cubicBezTo>
                      <a:pt x="389" y="152"/>
                      <a:pt x="397" y="160"/>
                      <a:pt x="404" y="169"/>
                    </a:cubicBezTo>
                    <a:cubicBezTo>
                      <a:pt x="411" y="177"/>
                      <a:pt x="418" y="185"/>
                      <a:pt x="423" y="192"/>
                    </a:cubicBezTo>
                    <a:cubicBezTo>
                      <a:pt x="429" y="199"/>
                      <a:pt x="434" y="205"/>
                      <a:pt x="437" y="211"/>
                    </a:cubicBezTo>
                    <a:cubicBezTo>
                      <a:pt x="441" y="217"/>
                      <a:pt x="444" y="222"/>
                      <a:pt x="446" y="227"/>
                    </a:cubicBezTo>
                    <a:cubicBezTo>
                      <a:pt x="446" y="229"/>
                      <a:pt x="447" y="231"/>
                      <a:pt x="447" y="233"/>
                    </a:cubicBezTo>
                    <a:cubicBezTo>
                      <a:pt x="447" y="235"/>
                      <a:pt x="447" y="237"/>
                      <a:pt x="446" y="239"/>
                    </a:cubicBezTo>
                    <a:cubicBezTo>
                      <a:pt x="445" y="242"/>
                      <a:pt x="443" y="245"/>
                      <a:pt x="438" y="248"/>
                    </a:cubicBezTo>
                    <a:cubicBezTo>
                      <a:pt x="435" y="251"/>
                      <a:pt x="429" y="253"/>
                      <a:pt x="423" y="256"/>
                    </a:cubicBezTo>
                    <a:cubicBezTo>
                      <a:pt x="410" y="261"/>
                      <a:pt x="392" y="265"/>
                      <a:pt x="371" y="270"/>
                    </a:cubicBezTo>
                    <a:cubicBezTo>
                      <a:pt x="360" y="273"/>
                      <a:pt x="349" y="276"/>
                      <a:pt x="336" y="278"/>
                    </a:cubicBezTo>
                    <a:cubicBezTo>
                      <a:pt x="324" y="281"/>
                      <a:pt x="310" y="283"/>
                      <a:pt x="297" y="285"/>
                    </a:cubicBezTo>
                    <a:cubicBezTo>
                      <a:pt x="269" y="290"/>
                      <a:pt x="238" y="293"/>
                      <a:pt x="206" y="293"/>
                    </a:cubicBezTo>
                    <a:cubicBezTo>
                      <a:pt x="174" y="293"/>
                      <a:pt x="144" y="289"/>
                      <a:pt x="117" y="281"/>
                    </a:cubicBezTo>
                    <a:cubicBezTo>
                      <a:pt x="103" y="277"/>
                      <a:pt x="90" y="271"/>
                      <a:pt x="78" y="264"/>
                    </a:cubicBezTo>
                    <a:cubicBezTo>
                      <a:pt x="66" y="258"/>
                      <a:pt x="55" y="250"/>
                      <a:pt x="45" y="241"/>
                    </a:cubicBezTo>
                    <a:cubicBezTo>
                      <a:pt x="26" y="223"/>
                      <a:pt x="12" y="200"/>
                      <a:pt x="5" y="175"/>
                    </a:cubicBezTo>
                    <a:cubicBezTo>
                      <a:pt x="1" y="162"/>
                      <a:pt x="0" y="149"/>
                      <a:pt x="0" y="136"/>
                    </a:cubicBezTo>
                    <a:cubicBezTo>
                      <a:pt x="0" y="123"/>
                      <a:pt x="2" y="109"/>
                      <a:pt x="6" y="96"/>
                    </a:cubicBezTo>
                    <a:cubicBezTo>
                      <a:pt x="9" y="89"/>
                      <a:pt x="11" y="83"/>
                      <a:pt x="14" y="77"/>
                    </a:cubicBezTo>
                    <a:cubicBezTo>
                      <a:pt x="17" y="71"/>
                      <a:pt x="21" y="65"/>
                      <a:pt x="24" y="60"/>
                    </a:cubicBezTo>
                    <a:cubicBezTo>
                      <a:pt x="32" y="49"/>
                      <a:pt x="41" y="39"/>
                      <a:pt x="51" y="31"/>
                    </a:cubicBezTo>
                    <a:cubicBezTo>
                      <a:pt x="62" y="23"/>
                      <a:pt x="73" y="16"/>
                      <a:pt x="85" y="11"/>
                    </a:cubicBezTo>
                    <a:cubicBezTo>
                      <a:pt x="97" y="6"/>
                      <a:pt x="110" y="3"/>
                      <a:pt x="123" y="2"/>
                    </a:cubicBezTo>
                    <a:cubicBezTo>
                      <a:pt x="136" y="0"/>
                      <a:pt x="150" y="0"/>
                      <a:pt x="163" y="2"/>
                    </a:cubicBezTo>
                    <a:cubicBezTo>
                      <a:pt x="177" y="3"/>
                      <a:pt x="190" y="6"/>
                      <a:pt x="204" y="11"/>
                    </a:cubicBezTo>
                    <a:cubicBezTo>
                      <a:pt x="232" y="20"/>
                      <a:pt x="258" y="35"/>
                      <a:pt x="284" y="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2">
                <a:extLst>
                  <a:ext uri="{FF2B5EF4-FFF2-40B4-BE49-F238E27FC236}">
                    <a16:creationId xmlns:a16="http://schemas.microsoft.com/office/drawing/2014/main" id="{F345427A-D2E9-C41A-78F9-B59E9544AB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6" y="870"/>
                <a:ext cx="806" cy="960"/>
              </a:xfrm>
              <a:custGeom>
                <a:avLst/>
                <a:gdLst>
                  <a:gd name="T0" fmla="*/ 306 w 339"/>
                  <a:gd name="T1" fmla="*/ 156 h 404"/>
                  <a:gd name="T2" fmla="*/ 327 w 339"/>
                  <a:gd name="T3" fmla="*/ 244 h 404"/>
                  <a:gd name="T4" fmla="*/ 332 w 339"/>
                  <a:gd name="T5" fmla="*/ 284 h 404"/>
                  <a:gd name="T6" fmla="*/ 336 w 339"/>
                  <a:gd name="T7" fmla="*/ 320 h 404"/>
                  <a:gd name="T8" fmla="*/ 338 w 339"/>
                  <a:gd name="T9" fmla="*/ 350 h 404"/>
                  <a:gd name="T10" fmla="*/ 338 w 339"/>
                  <a:gd name="T11" fmla="*/ 374 h 404"/>
                  <a:gd name="T12" fmla="*/ 336 w 339"/>
                  <a:gd name="T13" fmla="*/ 391 h 404"/>
                  <a:gd name="T14" fmla="*/ 333 w 339"/>
                  <a:gd name="T15" fmla="*/ 397 h 404"/>
                  <a:gd name="T16" fmla="*/ 329 w 339"/>
                  <a:gd name="T17" fmla="*/ 401 h 404"/>
                  <a:gd name="T18" fmla="*/ 317 w 339"/>
                  <a:gd name="T19" fmla="*/ 404 h 404"/>
                  <a:gd name="T20" fmla="*/ 300 w 339"/>
                  <a:gd name="T21" fmla="*/ 401 h 404"/>
                  <a:gd name="T22" fmla="*/ 277 w 339"/>
                  <a:gd name="T23" fmla="*/ 394 h 404"/>
                  <a:gd name="T24" fmla="*/ 249 w 339"/>
                  <a:gd name="T25" fmla="*/ 383 h 404"/>
                  <a:gd name="T26" fmla="*/ 181 w 339"/>
                  <a:gd name="T27" fmla="*/ 351 h 404"/>
                  <a:gd name="T28" fmla="*/ 103 w 339"/>
                  <a:gd name="T29" fmla="*/ 304 h 404"/>
                  <a:gd name="T30" fmla="*/ 38 w 339"/>
                  <a:gd name="T31" fmla="*/ 241 h 404"/>
                  <a:gd name="T32" fmla="*/ 4 w 339"/>
                  <a:gd name="T33" fmla="*/ 167 h 404"/>
                  <a:gd name="T34" fmla="*/ 1 w 339"/>
                  <a:gd name="T35" fmla="*/ 128 h 404"/>
                  <a:gd name="T36" fmla="*/ 9 w 339"/>
                  <a:gd name="T37" fmla="*/ 90 h 404"/>
                  <a:gd name="T38" fmla="*/ 28 w 339"/>
                  <a:gd name="T39" fmla="*/ 55 h 404"/>
                  <a:gd name="T40" fmla="*/ 57 w 339"/>
                  <a:gd name="T41" fmla="*/ 27 h 404"/>
                  <a:gd name="T42" fmla="*/ 74 w 339"/>
                  <a:gd name="T43" fmla="*/ 16 h 404"/>
                  <a:gd name="T44" fmla="*/ 93 w 339"/>
                  <a:gd name="T45" fmla="*/ 8 h 404"/>
                  <a:gd name="T46" fmla="*/ 131 w 339"/>
                  <a:gd name="T47" fmla="*/ 1 h 404"/>
                  <a:gd name="T48" fmla="*/ 170 w 339"/>
                  <a:gd name="T49" fmla="*/ 5 h 404"/>
                  <a:gd name="T50" fmla="*/ 207 w 339"/>
                  <a:gd name="T51" fmla="*/ 19 h 404"/>
                  <a:gd name="T52" fmla="*/ 239 w 339"/>
                  <a:gd name="T53" fmla="*/ 43 h 404"/>
                  <a:gd name="T54" fmla="*/ 267 w 339"/>
                  <a:gd name="T55" fmla="*/ 75 h 404"/>
                  <a:gd name="T56" fmla="*/ 306 w 339"/>
                  <a:gd name="T57" fmla="*/ 156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306" y="156"/>
                    </a:moveTo>
                    <a:cubicBezTo>
                      <a:pt x="316" y="187"/>
                      <a:pt x="322" y="217"/>
                      <a:pt x="327" y="244"/>
                    </a:cubicBezTo>
                    <a:cubicBezTo>
                      <a:pt x="329" y="258"/>
                      <a:pt x="331" y="271"/>
                      <a:pt x="332" y="284"/>
                    </a:cubicBezTo>
                    <a:cubicBezTo>
                      <a:pt x="334" y="297"/>
                      <a:pt x="335" y="309"/>
                      <a:pt x="336" y="320"/>
                    </a:cubicBezTo>
                    <a:cubicBezTo>
                      <a:pt x="337" y="331"/>
                      <a:pt x="338" y="341"/>
                      <a:pt x="338" y="350"/>
                    </a:cubicBezTo>
                    <a:cubicBezTo>
                      <a:pt x="339" y="359"/>
                      <a:pt x="339" y="367"/>
                      <a:pt x="338" y="374"/>
                    </a:cubicBezTo>
                    <a:cubicBezTo>
                      <a:pt x="338" y="381"/>
                      <a:pt x="337" y="386"/>
                      <a:pt x="336" y="391"/>
                    </a:cubicBezTo>
                    <a:cubicBezTo>
                      <a:pt x="335" y="393"/>
                      <a:pt x="334" y="395"/>
                      <a:pt x="333" y="397"/>
                    </a:cubicBezTo>
                    <a:cubicBezTo>
                      <a:pt x="332" y="398"/>
                      <a:pt x="331" y="400"/>
                      <a:pt x="329" y="401"/>
                    </a:cubicBezTo>
                    <a:cubicBezTo>
                      <a:pt x="326" y="403"/>
                      <a:pt x="322" y="404"/>
                      <a:pt x="317" y="404"/>
                    </a:cubicBezTo>
                    <a:cubicBezTo>
                      <a:pt x="313" y="404"/>
                      <a:pt x="307" y="403"/>
                      <a:pt x="300" y="401"/>
                    </a:cubicBezTo>
                    <a:cubicBezTo>
                      <a:pt x="293" y="400"/>
                      <a:pt x="286" y="397"/>
                      <a:pt x="277" y="394"/>
                    </a:cubicBezTo>
                    <a:cubicBezTo>
                      <a:pt x="269" y="391"/>
                      <a:pt x="259" y="387"/>
                      <a:pt x="249" y="383"/>
                    </a:cubicBezTo>
                    <a:cubicBezTo>
                      <a:pt x="229" y="374"/>
                      <a:pt x="206" y="364"/>
                      <a:pt x="181" y="351"/>
                    </a:cubicBezTo>
                    <a:cubicBezTo>
                      <a:pt x="155" y="338"/>
                      <a:pt x="129" y="323"/>
                      <a:pt x="103" y="304"/>
                    </a:cubicBezTo>
                    <a:cubicBezTo>
                      <a:pt x="77" y="285"/>
                      <a:pt x="55" y="264"/>
                      <a:pt x="38" y="241"/>
                    </a:cubicBezTo>
                    <a:cubicBezTo>
                      <a:pt x="21" y="218"/>
                      <a:pt x="9" y="193"/>
                      <a:pt x="4" y="167"/>
                    </a:cubicBezTo>
                    <a:cubicBezTo>
                      <a:pt x="1" y="154"/>
                      <a:pt x="0" y="141"/>
                      <a:pt x="1" y="128"/>
                    </a:cubicBezTo>
                    <a:cubicBezTo>
                      <a:pt x="2" y="115"/>
                      <a:pt x="5" y="102"/>
                      <a:pt x="9" y="90"/>
                    </a:cubicBezTo>
                    <a:cubicBezTo>
                      <a:pt x="14" y="78"/>
                      <a:pt x="20" y="66"/>
                      <a:pt x="28" y="55"/>
                    </a:cubicBezTo>
                    <a:cubicBezTo>
                      <a:pt x="36" y="45"/>
                      <a:pt x="46" y="35"/>
                      <a:pt x="57" y="27"/>
                    </a:cubicBezTo>
                    <a:cubicBezTo>
                      <a:pt x="63" y="23"/>
                      <a:pt x="68" y="19"/>
                      <a:pt x="74" y="16"/>
                    </a:cubicBezTo>
                    <a:cubicBezTo>
                      <a:pt x="80" y="13"/>
                      <a:pt x="87" y="11"/>
                      <a:pt x="93" y="8"/>
                    </a:cubicBezTo>
                    <a:cubicBezTo>
                      <a:pt x="105" y="4"/>
                      <a:pt x="119" y="2"/>
                      <a:pt x="131" y="1"/>
                    </a:cubicBezTo>
                    <a:cubicBezTo>
                      <a:pt x="144" y="0"/>
                      <a:pt x="158" y="2"/>
                      <a:pt x="170" y="5"/>
                    </a:cubicBezTo>
                    <a:cubicBezTo>
                      <a:pt x="183" y="8"/>
                      <a:pt x="195" y="13"/>
                      <a:pt x="207" y="19"/>
                    </a:cubicBezTo>
                    <a:cubicBezTo>
                      <a:pt x="218" y="26"/>
                      <a:pt x="229" y="34"/>
                      <a:pt x="239" y="43"/>
                    </a:cubicBezTo>
                    <a:cubicBezTo>
                      <a:pt x="249" y="52"/>
                      <a:pt x="259" y="63"/>
                      <a:pt x="267" y="75"/>
                    </a:cubicBezTo>
                    <a:cubicBezTo>
                      <a:pt x="284" y="98"/>
                      <a:pt x="296" y="126"/>
                      <a:pt x="306" y="15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3">
                <a:extLst>
                  <a:ext uri="{FF2B5EF4-FFF2-40B4-BE49-F238E27FC236}">
                    <a16:creationId xmlns:a16="http://schemas.microsoft.com/office/drawing/2014/main" id="{0D7F205E-0612-F1EF-5613-49541FBFFF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505" y="645"/>
                <a:ext cx="675" cy="1099"/>
              </a:xfrm>
              <a:custGeom>
                <a:avLst/>
                <a:gdLst>
                  <a:gd name="T0" fmla="*/ 268 w 284"/>
                  <a:gd name="T1" fmla="*/ 251 h 463"/>
                  <a:gd name="T2" fmla="*/ 232 w 284"/>
                  <a:gd name="T3" fmla="*/ 335 h 463"/>
                  <a:gd name="T4" fmla="*/ 196 w 284"/>
                  <a:gd name="T5" fmla="*/ 401 h 463"/>
                  <a:gd name="T6" fmla="*/ 180 w 284"/>
                  <a:gd name="T7" fmla="*/ 426 h 463"/>
                  <a:gd name="T8" fmla="*/ 173 w 284"/>
                  <a:gd name="T9" fmla="*/ 437 h 463"/>
                  <a:gd name="T10" fmla="*/ 166 w 284"/>
                  <a:gd name="T11" fmla="*/ 446 h 463"/>
                  <a:gd name="T12" fmla="*/ 142 w 284"/>
                  <a:gd name="T13" fmla="*/ 463 h 463"/>
                  <a:gd name="T14" fmla="*/ 118 w 284"/>
                  <a:gd name="T15" fmla="*/ 446 h 463"/>
                  <a:gd name="T16" fmla="*/ 111 w 284"/>
                  <a:gd name="T17" fmla="*/ 437 h 463"/>
                  <a:gd name="T18" fmla="*/ 104 w 284"/>
                  <a:gd name="T19" fmla="*/ 426 h 463"/>
                  <a:gd name="T20" fmla="*/ 88 w 284"/>
                  <a:gd name="T21" fmla="*/ 401 h 463"/>
                  <a:gd name="T22" fmla="*/ 52 w 284"/>
                  <a:gd name="T23" fmla="*/ 335 h 463"/>
                  <a:gd name="T24" fmla="*/ 16 w 284"/>
                  <a:gd name="T25" fmla="*/ 251 h 463"/>
                  <a:gd name="T26" fmla="*/ 0 w 284"/>
                  <a:gd name="T27" fmla="*/ 162 h 463"/>
                  <a:gd name="T28" fmla="*/ 17 w 284"/>
                  <a:gd name="T29" fmla="*/ 82 h 463"/>
                  <a:gd name="T30" fmla="*/ 38 w 284"/>
                  <a:gd name="T31" fmla="*/ 49 h 463"/>
                  <a:gd name="T32" fmla="*/ 51 w 284"/>
                  <a:gd name="T33" fmla="*/ 35 h 463"/>
                  <a:gd name="T34" fmla="*/ 67 w 284"/>
                  <a:gd name="T35" fmla="*/ 23 h 463"/>
                  <a:gd name="T36" fmla="*/ 142 w 284"/>
                  <a:gd name="T37" fmla="*/ 0 h 463"/>
                  <a:gd name="T38" fmla="*/ 217 w 284"/>
                  <a:gd name="T39" fmla="*/ 23 h 463"/>
                  <a:gd name="T40" fmla="*/ 233 w 284"/>
                  <a:gd name="T41" fmla="*/ 35 h 463"/>
                  <a:gd name="T42" fmla="*/ 246 w 284"/>
                  <a:gd name="T43" fmla="*/ 49 h 463"/>
                  <a:gd name="T44" fmla="*/ 267 w 284"/>
                  <a:gd name="T45" fmla="*/ 82 h 463"/>
                  <a:gd name="T46" fmla="*/ 284 w 284"/>
                  <a:gd name="T47" fmla="*/ 162 h 463"/>
                  <a:gd name="T48" fmla="*/ 268 w 284"/>
                  <a:gd name="T49" fmla="*/ 251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84" h="463">
                    <a:moveTo>
                      <a:pt x="268" y="251"/>
                    </a:moveTo>
                    <a:cubicBezTo>
                      <a:pt x="258" y="282"/>
                      <a:pt x="245" y="309"/>
                      <a:pt x="232" y="335"/>
                    </a:cubicBezTo>
                    <a:cubicBezTo>
                      <a:pt x="220" y="360"/>
                      <a:pt x="207" y="382"/>
                      <a:pt x="196" y="401"/>
                    </a:cubicBezTo>
                    <a:cubicBezTo>
                      <a:pt x="190" y="410"/>
                      <a:pt x="185" y="419"/>
                      <a:pt x="180" y="426"/>
                    </a:cubicBezTo>
                    <a:cubicBezTo>
                      <a:pt x="177" y="430"/>
                      <a:pt x="175" y="434"/>
                      <a:pt x="173" y="437"/>
                    </a:cubicBezTo>
                    <a:cubicBezTo>
                      <a:pt x="170" y="440"/>
                      <a:pt x="168" y="443"/>
                      <a:pt x="166" y="446"/>
                    </a:cubicBezTo>
                    <a:cubicBezTo>
                      <a:pt x="157" y="457"/>
                      <a:pt x="150" y="463"/>
                      <a:pt x="142" y="463"/>
                    </a:cubicBezTo>
                    <a:cubicBezTo>
                      <a:pt x="134" y="463"/>
                      <a:pt x="127" y="457"/>
                      <a:pt x="118" y="446"/>
                    </a:cubicBezTo>
                    <a:cubicBezTo>
                      <a:pt x="116" y="443"/>
                      <a:pt x="114" y="440"/>
                      <a:pt x="111" y="437"/>
                    </a:cubicBezTo>
                    <a:cubicBezTo>
                      <a:pt x="109" y="434"/>
                      <a:pt x="107" y="430"/>
                      <a:pt x="104" y="426"/>
                    </a:cubicBezTo>
                    <a:cubicBezTo>
                      <a:pt x="99" y="419"/>
                      <a:pt x="94" y="410"/>
                      <a:pt x="88" y="401"/>
                    </a:cubicBezTo>
                    <a:cubicBezTo>
                      <a:pt x="77" y="382"/>
                      <a:pt x="64" y="360"/>
                      <a:pt x="52" y="335"/>
                    </a:cubicBezTo>
                    <a:cubicBezTo>
                      <a:pt x="39" y="309"/>
                      <a:pt x="26" y="282"/>
                      <a:pt x="16" y="251"/>
                    </a:cubicBezTo>
                    <a:cubicBezTo>
                      <a:pt x="6" y="221"/>
                      <a:pt x="0" y="191"/>
                      <a:pt x="0" y="162"/>
                    </a:cubicBezTo>
                    <a:cubicBezTo>
                      <a:pt x="0" y="133"/>
                      <a:pt x="5" y="106"/>
                      <a:pt x="17" y="82"/>
                    </a:cubicBezTo>
                    <a:cubicBezTo>
                      <a:pt x="22" y="70"/>
                      <a:pt x="29" y="59"/>
                      <a:pt x="38" y="49"/>
                    </a:cubicBezTo>
                    <a:cubicBezTo>
                      <a:pt x="42" y="44"/>
                      <a:pt x="46" y="39"/>
                      <a:pt x="51" y="35"/>
                    </a:cubicBezTo>
                    <a:cubicBezTo>
                      <a:pt x="56" y="31"/>
                      <a:pt x="61" y="27"/>
                      <a:pt x="67" y="23"/>
                    </a:cubicBezTo>
                    <a:cubicBezTo>
                      <a:pt x="88" y="8"/>
                      <a:pt x="114" y="0"/>
                      <a:pt x="142" y="0"/>
                    </a:cubicBezTo>
                    <a:cubicBezTo>
                      <a:pt x="170" y="0"/>
                      <a:pt x="196" y="8"/>
                      <a:pt x="217" y="23"/>
                    </a:cubicBezTo>
                    <a:cubicBezTo>
                      <a:pt x="223" y="27"/>
                      <a:pt x="228" y="31"/>
                      <a:pt x="233" y="35"/>
                    </a:cubicBezTo>
                    <a:cubicBezTo>
                      <a:pt x="238" y="39"/>
                      <a:pt x="242" y="44"/>
                      <a:pt x="246" y="49"/>
                    </a:cubicBezTo>
                    <a:cubicBezTo>
                      <a:pt x="255" y="59"/>
                      <a:pt x="262" y="70"/>
                      <a:pt x="267" y="82"/>
                    </a:cubicBezTo>
                    <a:cubicBezTo>
                      <a:pt x="279" y="106"/>
                      <a:pt x="284" y="133"/>
                      <a:pt x="284" y="162"/>
                    </a:cubicBezTo>
                    <a:cubicBezTo>
                      <a:pt x="284" y="191"/>
                      <a:pt x="278" y="221"/>
                      <a:pt x="268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4">
                <a:extLst>
                  <a:ext uri="{FF2B5EF4-FFF2-40B4-BE49-F238E27FC236}">
                    <a16:creationId xmlns:a16="http://schemas.microsoft.com/office/drawing/2014/main" id="{E9C47C57-8775-1030-932F-922241CDDC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63" y="870"/>
                <a:ext cx="805" cy="960"/>
              </a:xfrm>
              <a:custGeom>
                <a:avLst/>
                <a:gdLst>
                  <a:gd name="T0" fmla="*/ 236 w 339"/>
                  <a:gd name="T1" fmla="*/ 304 h 404"/>
                  <a:gd name="T2" fmla="*/ 158 w 339"/>
                  <a:gd name="T3" fmla="*/ 351 h 404"/>
                  <a:gd name="T4" fmla="*/ 90 w 339"/>
                  <a:gd name="T5" fmla="*/ 383 h 404"/>
                  <a:gd name="T6" fmla="*/ 62 w 339"/>
                  <a:gd name="T7" fmla="*/ 394 h 404"/>
                  <a:gd name="T8" fmla="*/ 39 w 339"/>
                  <a:gd name="T9" fmla="*/ 401 h 404"/>
                  <a:gd name="T10" fmla="*/ 22 w 339"/>
                  <a:gd name="T11" fmla="*/ 404 h 404"/>
                  <a:gd name="T12" fmla="*/ 10 w 339"/>
                  <a:gd name="T13" fmla="*/ 401 h 404"/>
                  <a:gd name="T14" fmla="*/ 6 w 339"/>
                  <a:gd name="T15" fmla="*/ 397 h 404"/>
                  <a:gd name="T16" fmla="*/ 3 w 339"/>
                  <a:gd name="T17" fmla="*/ 391 h 404"/>
                  <a:gd name="T18" fmla="*/ 1 w 339"/>
                  <a:gd name="T19" fmla="*/ 374 h 404"/>
                  <a:gd name="T20" fmla="*/ 1 w 339"/>
                  <a:gd name="T21" fmla="*/ 350 h 404"/>
                  <a:gd name="T22" fmla="*/ 3 w 339"/>
                  <a:gd name="T23" fmla="*/ 320 h 404"/>
                  <a:gd name="T24" fmla="*/ 7 w 339"/>
                  <a:gd name="T25" fmla="*/ 284 h 404"/>
                  <a:gd name="T26" fmla="*/ 12 w 339"/>
                  <a:gd name="T27" fmla="*/ 244 h 404"/>
                  <a:gd name="T28" fmla="*/ 33 w 339"/>
                  <a:gd name="T29" fmla="*/ 156 h 404"/>
                  <a:gd name="T30" fmla="*/ 72 w 339"/>
                  <a:gd name="T31" fmla="*/ 75 h 404"/>
                  <a:gd name="T32" fmla="*/ 100 w 339"/>
                  <a:gd name="T33" fmla="*/ 43 h 404"/>
                  <a:gd name="T34" fmla="*/ 132 w 339"/>
                  <a:gd name="T35" fmla="*/ 19 h 404"/>
                  <a:gd name="T36" fmla="*/ 169 w 339"/>
                  <a:gd name="T37" fmla="*/ 5 h 404"/>
                  <a:gd name="T38" fmla="*/ 208 w 339"/>
                  <a:gd name="T39" fmla="*/ 1 h 404"/>
                  <a:gd name="T40" fmla="*/ 246 w 339"/>
                  <a:gd name="T41" fmla="*/ 8 h 404"/>
                  <a:gd name="T42" fmla="*/ 265 w 339"/>
                  <a:gd name="T43" fmla="*/ 16 h 404"/>
                  <a:gd name="T44" fmla="*/ 282 w 339"/>
                  <a:gd name="T45" fmla="*/ 27 h 404"/>
                  <a:gd name="T46" fmla="*/ 311 w 339"/>
                  <a:gd name="T47" fmla="*/ 55 h 404"/>
                  <a:gd name="T48" fmla="*/ 330 w 339"/>
                  <a:gd name="T49" fmla="*/ 90 h 404"/>
                  <a:gd name="T50" fmla="*/ 338 w 339"/>
                  <a:gd name="T51" fmla="*/ 128 h 404"/>
                  <a:gd name="T52" fmla="*/ 335 w 339"/>
                  <a:gd name="T53" fmla="*/ 167 h 404"/>
                  <a:gd name="T54" fmla="*/ 301 w 339"/>
                  <a:gd name="T55" fmla="*/ 241 h 404"/>
                  <a:gd name="T56" fmla="*/ 236 w 339"/>
                  <a:gd name="T57" fmla="*/ 3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39" h="404">
                    <a:moveTo>
                      <a:pt x="236" y="304"/>
                    </a:moveTo>
                    <a:cubicBezTo>
                      <a:pt x="210" y="323"/>
                      <a:pt x="184" y="338"/>
                      <a:pt x="158" y="351"/>
                    </a:cubicBezTo>
                    <a:cubicBezTo>
                      <a:pt x="133" y="364"/>
                      <a:pt x="110" y="374"/>
                      <a:pt x="90" y="383"/>
                    </a:cubicBezTo>
                    <a:cubicBezTo>
                      <a:pt x="80" y="387"/>
                      <a:pt x="70" y="391"/>
                      <a:pt x="62" y="394"/>
                    </a:cubicBezTo>
                    <a:cubicBezTo>
                      <a:pt x="53" y="397"/>
                      <a:pt x="46" y="400"/>
                      <a:pt x="39" y="401"/>
                    </a:cubicBezTo>
                    <a:cubicBezTo>
                      <a:pt x="32" y="403"/>
                      <a:pt x="26" y="404"/>
                      <a:pt x="22" y="404"/>
                    </a:cubicBezTo>
                    <a:cubicBezTo>
                      <a:pt x="17" y="404"/>
                      <a:pt x="13" y="403"/>
                      <a:pt x="10" y="401"/>
                    </a:cubicBezTo>
                    <a:cubicBezTo>
                      <a:pt x="8" y="400"/>
                      <a:pt x="7" y="398"/>
                      <a:pt x="6" y="397"/>
                    </a:cubicBezTo>
                    <a:cubicBezTo>
                      <a:pt x="5" y="395"/>
                      <a:pt x="4" y="393"/>
                      <a:pt x="3" y="391"/>
                    </a:cubicBezTo>
                    <a:cubicBezTo>
                      <a:pt x="2" y="386"/>
                      <a:pt x="1" y="381"/>
                      <a:pt x="1" y="374"/>
                    </a:cubicBezTo>
                    <a:cubicBezTo>
                      <a:pt x="0" y="367"/>
                      <a:pt x="0" y="359"/>
                      <a:pt x="1" y="350"/>
                    </a:cubicBezTo>
                    <a:cubicBezTo>
                      <a:pt x="1" y="341"/>
                      <a:pt x="2" y="331"/>
                      <a:pt x="3" y="320"/>
                    </a:cubicBezTo>
                    <a:cubicBezTo>
                      <a:pt x="4" y="309"/>
                      <a:pt x="5" y="297"/>
                      <a:pt x="7" y="284"/>
                    </a:cubicBezTo>
                    <a:cubicBezTo>
                      <a:pt x="8" y="271"/>
                      <a:pt x="10" y="258"/>
                      <a:pt x="12" y="244"/>
                    </a:cubicBezTo>
                    <a:cubicBezTo>
                      <a:pt x="17" y="217"/>
                      <a:pt x="23" y="187"/>
                      <a:pt x="33" y="156"/>
                    </a:cubicBezTo>
                    <a:cubicBezTo>
                      <a:pt x="42" y="126"/>
                      <a:pt x="55" y="98"/>
                      <a:pt x="72" y="75"/>
                    </a:cubicBezTo>
                    <a:cubicBezTo>
                      <a:pt x="80" y="63"/>
                      <a:pt x="90" y="52"/>
                      <a:pt x="100" y="43"/>
                    </a:cubicBezTo>
                    <a:cubicBezTo>
                      <a:pt x="110" y="34"/>
                      <a:pt x="121" y="26"/>
                      <a:pt x="132" y="19"/>
                    </a:cubicBezTo>
                    <a:cubicBezTo>
                      <a:pt x="144" y="13"/>
                      <a:pt x="156" y="8"/>
                      <a:pt x="169" y="5"/>
                    </a:cubicBezTo>
                    <a:cubicBezTo>
                      <a:pt x="181" y="2"/>
                      <a:pt x="195" y="0"/>
                      <a:pt x="208" y="1"/>
                    </a:cubicBezTo>
                    <a:cubicBezTo>
                      <a:pt x="220" y="2"/>
                      <a:pt x="234" y="4"/>
                      <a:pt x="246" y="8"/>
                    </a:cubicBezTo>
                    <a:cubicBezTo>
                      <a:pt x="252" y="11"/>
                      <a:pt x="259" y="13"/>
                      <a:pt x="265" y="16"/>
                    </a:cubicBezTo>
                    <a:cubicBezTo>
                      <a:pt x="271" y="19"/>
                      <a:pt x="276" y="23"/>
                      <a:pt x="282" y="27"/>
                    </a:cubicBezTo>
                    <a:cubicBezTo>
                      <a:pt x="293" y="35"/>
                      <a:pt x="303" y="45"/>
                      <a:pt x="311" y="55"/>
                    </a:cubicBezTo>
                    <a:cubicBezTo>
                      <a:pt x="319" y="66"/>
                      <a:pt x="325" y="78"/>
                      <a:pt x="330" y="90"/>
                    </a:cubicBezTo>
                    <a:cubicBezTo>
                      <a:pt x="334" y="102"/>
                      <a:pt x="337" y="115"/>
                      <a:pt x="338" y="128"/>
                    </a:cubicBezTo>
                    <a:cubicBezTo>
                      <a:pt x="339" y="141"/>
                      <a:pt x="338" y="154"/>
                      <a:pt x="335" y="167"/>
                    </a:cubicBezTo>
                    <a:cubicBezTo>
                      <a:pt x="330" y="193"/>
                      <a:pt x="318" y="218"/>
                      <a:pt x="301" y="241"/>
                    </a:cubicBezTo>
                    <a:cubicBezTo>
                      <a:pt x="284" y="264"/>
                      <a:pt x="262" y="285"/>
                      <a:pt x="236" y="30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5">
                <a:extLst>
                  <a:ext uri="{FF2B5EF4-FFF2-40B4-BE49-F238E27FC236}">
                    <a16:creationId xmlns:a16="http://schemas.microsoft.com/office/drawing/2014/main" id="{8EE6F28B-EF8C-C81C-B0D9-AA899E06AF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7" y="1464"/>
                <a:ext cx="1061" cy="696"/>
              </a:xfrm>
              <a:custGeom>
                <a:avLst/>
                <a:gdLst>
                  <a:gd name="T0" fmla="*/ 241 w 447"/>
                  <a:gd name="T1" fmla="*/ 293 h 293"/>
                  <a:gd name="T2" fmla="*/ 150 w 447"/>
                  <a:gd name="T3" fmla="*/ 285 h 293"/>
                  <a:gd name="T4" fmla="*/ 111 w 447"/>
                  <a:gd name="T5" fmla="*/ 278 h 293"/>
                  <a:gd name="T6" fmla="*/ 76 w 447"/>
                  <a:gd name="T7" fmla="*/ 270 h 293"/>
                  <a:gd name="T8" fmla="*/ 24 w 447"/>
                  <a:gd name="T9" fmla="*/ 256 h 293"/>
                  <a:gd name="T10" fmla="*/ 9 w 447"/>
                  <a:gd name="T11" fmla="*/ 248 h 293"/>
                  <a:gd name="T12" fmla="*/ 1 w 447"/>
                  <a:gd name="T13" fmla="*/ 239 h 293"/>
                  <a:gd name="T14" fmla="*/ 0 w 447"/>
                  <a:gd name="T15" fmla="*/ 233 h 293"/>
                  <a:gd name="T16" fmla="*/ 1 w 447"/>
                  <a:gd name="T17" fmla="*/ 227 h 293"/>
                  <a:gd name="T18" fmla="*/ 10 w 447"/>
                  <a:gd name="T19" fmla="*/ 211 h 293"/>
                  <a:gd name="T20" fmla="*/ 24 w 447"/>
                  <a:gd name="T21" fmla="*/ 192 h 293"/>
                  <a:gd name="T22" fmla="*/ 43 w 447"/>
                  <a:gd name="T23" fmla="*/ 169 h 293"/>
                  <a:gd name="T24" fmla="*/ 67 w 447"/>
                  <a:gd name="T25" fmla="*/ 142 h 293"/>
                  <a:gd name="T26" fmla="*/ 95 w 447"/>
                  <a:gd name="T27" fmla="*/ 113 h 293"/>
                  <a:gd name="T28" fmla="*/ 163 w 447"/>
                  <a:gd name="T29" fmla="*/ 54 h 293"/>
                  <a:gd name="T30" fmla="*/ 243 w 447"/>
                  <a:gd name="T31" fmla="*/ 11 h 293"/>
                  <a:gd name="T32" fmla="*/ 284 w 447"/>
                  <a:gd name="T33" fmla="*/ 2 h 293"/>
                  <a:gd name="T34" fmla="*/ 324 w 447"/>
                  <a:gd name="T35" fmla="*/ 2 h 293"/>
                  <a:gd name="T36" fmla="*/ 362 w 447"/>
                  <a:gd name="T37" fmla="*/ 11 h 293"/>
                  <a:gd name="T38" fmla="*/ 396 w 447"/>
                  <a:gd name="T39" fmla="*/ 31 h 293"/>
                  <a:gd name="T40" fmla="*/ 423 w 447"/>
                  <a:gd name="T41" fmla="*/ 60 h 293"/>
                  <a:gd name="T42" fmla="*/ 433 w 447"/>
                  <a:gd name="T43" fmla="*/ 77 h 293"/>
                  <a:gd name="T44" fmla="*/ 441 w 447"/>
                  <a:gd name="T45" fmla="*/ 96 h 293"/>
                  <a:gd name="T46" fmla="*/ 447 w 447"/>
                  <a:gd name="T47" fmla="*/ 136 h 293"/>
                  <a:gd name="T48" fmla="*/ 442 w 447"/>
                  <a:gd name="T49" fmla="*/ 175 h 293"/>
                  <a:gd name="T50" fmla="*/ 402 w 447"/>
                  <a:gd name="T51" fmla="*/ 241 h 293"/>
                  <a:gd name="T52" fmla="*/ 369 w 447"/>
                  <a:gd name="T53" fmla="*/ 264 h 293"/>
                  <a:gd name="T54" fmla="*/ 330 w 447"/>
                  <a:gd name="T55" fmla="*/ 281 h 293"/>
                  <a:gd name="T56" fmla="*/ 241 w 447"/>
                  <a:gd name="T57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7" h="293">
                    <a:moveTo>
                      <a:pt x="241" y="293"/>
                    </a:moveTo>
                    <a:cubicBezTo>
                      <a:pt x="209" y="293"/>
                      <a:pt x="178" y="290"/>
                      <a:pt x="150" y="285"/>
                    </a:cubicBezTo>
                    <a:cubicBezTo>
                      <a:pt x="137" y="283"/>
                      <a:pt x="123" y="281"/>
                      <a:pt x="111" y="278"/>
                    </a:cubicBezTo>
                    <a:cubicBezTo>
                      <a:pt x="98" y="276"/>
                      <a:pt x="87" y="273"/>
                      <a:pt x="76" y="270"/>
                    </a:cubicBezTo>
                    <a:cubicBezTo>
                      <a:pt x="55" y="265"/>
                      <a:pt x="37" y="261"/>
                      <a:pt x="24" y="256"/>
                    </a:cubicBezTo>
                    <a:cubicBezTo>
                      <a:pt x="18" y="253"/>
                      <a:pt x="12" y="251"/>
                      <a:pt x="9" y="248"/>
                    </a:cubicBezTo>
                    <a:cubicBezTo>
                      <a:pt x="4" y="245"/>
                      <a:pt x="2" y="242"/>
                      <a:pt x="1" y="239"/>
                    </a:cubicBezTo>
                    <a:cubicBezTo>
                      <a:pt x="0" y="237"/>
                      <a:pt x="0" y="235"/>
                      <a:pt x="0" y="233"/>
                    </a:cubicBezTo>
                    <a:cubicBezTo>
                      <a:pt x="0" y="231"/>
                      <a:pt x="1" y="229"/>
                      <a:pt x="1" y="227"/>
                    </a:cubicBezTo>
                    <a:cubicBezTo>
                      <a:pt x="3" y="222"/>
                      <a:pt x="6" y="217"/>
                      <a:pt x="10" y="211"/>
                    </a:cubicBezTo>
                    <a:cubicBezTo>
                      <a:pt x="13" y="205"/>
                      <a:pt x="18" y="199"/>
                      <a:pt x="24" y="192"/>
                    </a:cubicBezTo>
                    <a:cubicBezTo>
                      <a:pt x="29" y="185"/>
                      <a:pt x="36" y="177"/>
                      <a:pt x="43" y="169"/>
                    </a:cubicBezTo>
                    <a:cubicBezTo>
                      <a:pt x="50" y="160"/>
                      <a:pt x="58" y="152"/>
                      <a:pt x="67" y="142"/>
                    </a:cubicBezTo>
                    <a:cubicBezTo>
                      <a:pt x="75" y="133"/>
                      <a:pt x="85" y="123"/>
                      <a:pt x="95" y="113"/>
                    </a:cubicBezTo>
                    <a:cubicBezTo>
                      <a:pt x="115" y="94"/>
                      <a:pt x="137" y="73"/>
                      <a:pt x="163" y="54"/>
                    </a:cubicBezTo>
                    <a:cubicBezTo>
                      <a:pt x="189" y="35"/>
                      <a:pt x="215" y="20"/>
                      <a:pt x="243" y="11"/>
                    </a:cubicBezTo>
                    <a:cubicBezTo>
                      <a:pt x="257" y="6"/>
                      <a:pt x="270" y="3"/>
                      <a:pt x="284" y="2"/>
                    </a:cubicBezTo>
                    <a:cubicBezTo>
                      <a:pt x="297" y="0"/>
                      <a:pt x="311" y="0"/>
                      <a:pt x="324" y="2"/>
                    </a:cubicBezTo>
                    <a:cubicBezTo>
                      <a:pt x="337" y="3"/>
                      <a:pt x="350" y="6"/>
                      <a:pt x="362" y="11"/>
                    </a:cubicBezTo>
                    <a:cubicBezTo>
                      <a:pt x="374" y="16"/>
                      <a:pt x="385" y="23"/>
                      <a:pt x="396" y="31"/>
                    </a:cubicBezTo>
                    <a:cubicBezTo>
                      <a:pt x="406" y="39"/>
                      <a:pt x="415" y="49"/>
                      <a:pt x="423" y="60"/>
                    </a:cubicBezTo>
                    <a:cubicBezTo>
                      <a:pt x="426" y="65"/>
                      <a:pt x="430" y="71"/>
                      <a:pt x="433" y="77"/>
                    </a:cubicBezTo>
                    <a:cubicBezTo>
                      <a:pt x="436" y="83"/>
                      <a:pt x="438" y="89"/>
                      <a:pt x="441" y="96"/>
                    </a:cubicBezTo>
                    <a:cubicBezTo>
                      <a:pt x="445" y="109"/>
                      <a:pt x="447" y="123"/>
                      <a:pt x="447" y="136"/>
                    </a:cubicBezTo>
                    <a:cubicBezTo>
                      <a:pt x="447" y="149"/>
                      <a:pt x="446" y="162"/>
                      <a:pt x="442" y="175"/>
                    </a:cubicBezTo>
                    <a:cubicBezTo>
                      <a:pt x="435" y="200"/>
                      <a:pt x="421" y="223"/>
                      <a:pt x="402" y="241"/>
                    </a:cubicBezTo>
                    <a:cubicBezTo>
                      <a:pt x="392" y="250"/>
                      <a:pt x="381" y="258"/>
                      <a:pt x="369" y="264"/>
                    </a:cubicBezTo>
                    <a:cubicBezTo>
                      <a:pt x="357" y="271"/>
                      <a:pt x="344" y="277"/>
                      <a:pt x="330" y="281"/>
                    </a:cubicBezTo>
                    <a:cubicBezTo>
                      <a:pt x="303" y="289"/>
                      <a:pt x="273" y="293"/>
                      <a:pt x="241" y="29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9116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86" r:id="rId2"/>
    <p:sldLayoutId id="2147483787" r:id="rId3"/>
    <p:sldLayoutId id="2147483722" r:id="rId4"/>
    <p:sldLayoutId id="2147483755" r:id="rId5"/>
    <p:sldLayoutId id="2147483756" r:id="rId6"/>
    <p:sldLayoutId id="2147483718" r:id="rId7"/>
    <p:sldLayoutId id="2147483723" r:id="rId8"/>
    <p:sldLayoutId id="2147483724" r:id="rId9"/>
    <p:sldLayoutId id="2147483788" r:id="rId10"/>
    <p:sldLayoutId id="2147483739" r:id="rId11"/>
    <p:sldLayoutId id="2147483740" r:id="rId12"/>
    <p:sldLayoutId id="2147483741" r:id="rId13"/>
    <p:sldLayoutId id="2147483742" r:id="rId14"/>
    <p:sldLayoutId id="2147483738" r:id="rId15"/>
    <p:sldLayoutId id="2147483747" r:id="rId16"/>
    <p:sldLayoutId id="2147483748" r:id="rId17"/>
    <p:sldLayoutId id="2147483750" r:id="rId18"/>
    <p:sldLayoutId id="2147483784" r:id="rId19"/>
    <p:sldLayoutId id="2147483783" r:id="rId20"/>
    <p:sldLayoutId id="2147483785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782" r:id="rId27"/>
    <p:sldLayoutId id="2147483757" r:id="rId28"/>
    <p:sldLayoutId id="2147483726" r:id="rId29"/>
    <p:sldLayoutId id="2147483789" r:id="rId30"/>
    <p:sldLayoutId id="2147483759" r:id="rId31"/>
    <p:sldLayoutId id="2147483727" r:id="rId32"/>
    <p:sldLayoutId id="2147483790" r:id="rId33"/>
    <p:sldLayoutId id="2147483761" r:id="rId34"/>
    <p:sldLayoutId id="2147483728" r:id="rId35"/>
    <p:sldLayoutId id="2147483791" r:id="rId36"/>
    <p:sldLayoutId id="2147483762" r:id="rId37"/>
    <p:sldLayoutId id="2147483729" r:id="rId38"/>
    <p:sldLayoutId id="2147483792" r:id="rId39"/>
    <p:sldLayoutId id="2147483763" r:id="rId40"/>
    <p:sldLayoutId id="2147483730" r:id="rId41"/>
    <p:sldLayoutId id="2147483793" r:id="rId42"/>
    <p:sldLayoutId id="2147483764" r:id="rId43"/>
    <p:sldLayoutId id="2147483731" r:id="rId44"/>
    <p:sldLayoutId id="2147483794" r:id="rId45"/>
    <p:sldLayoutId id="2147483732" r:id="rId46"/>
    <p:sldLayoutId id="2147483733" r:id="rId47"/>
    <p:sldLayoutId id="2147483775" r:id="rId48"/>
    <p:sldLayoutId id="2147483734" r:id="rId49"/>
    <p:sldLayoutId id="2147483765" r:id="rId50"/>
    <p:sldLayoutId id="2147483795" r:id="rId51"/>
    <p:sldLayoutId id="2147483776" r:id="rId52"/>
    <p:sldLayoutId id="2147483735" r:id="rId53"/>
    <p:sldLayoutId id="2147483766" r:id="rId54"/>
    <p:sldLayoutId id="2147483796" r:id="rId55"/>
    <p:sldLayoutId id="2147483777" r:id="rId56"/>
    <p:sldLayoutId id="2147483736" r:id="rId57"/>
    <p:sldLayoutId id="2147483767" r:id="rId58"/>
    <p:sldLayoutId id="2147483797" r:id="rId59"/>
    <p:sldLayoutId id="2147483778" r:id="rId60"/>
    <p:sldLayoutId id="2147483737" r:id="rId61"/>
    <p:sldLayoutId id="2147483768" r:id="rId62"/>
    <p:sldLayoutId id="2147483798" r:id="rId63"/>
    <p:sldLayoutId id="2147483743" r:id="rId64"/>
    <p:sldLayoutId id="2147483770" r:id="rId65"/>
    <p:sldLayoutId id="2147483769" r:id="rId66"/>
    <p:sldLayoutId id="2147483744" r:id="rId67"/>
    <p:sldLayoutId id="2147483772" r:id="rId68"/>
    <p:sldLayoutId id="2147483771" r:id="rId69"/>
    <p:sldLayoutId id="2147483745" r:id="rId70"/>
    <p:sldLayoutId id="2147483774" r:id="rId71"/>
    <p:sldLayoutId id="2147483773" r:id="rId72"/>
    <p:sldLayoutId id="2147483746" r:id="rId7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2725" indent="-212725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5775" indent="-265113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695325" indent="-2032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06463" indent="-21272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○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04900" indent="-19367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♦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indent="-193675" algn="l" defTabSz="914400" rtl="0" eaLnBrk="1" latinLnBrk="0" hangingPunct="1">
        <a:lnSpc>
          <a:spcPct val="90000"/>
        </a:lnSpc>
        <a:spcBef>
          <a:spcPts val="600"/>
        </a:spcBef>
        <a:buClr>
          <a:schemeClr val="accent6"/>
        </a:buClr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1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108C169-4573-FCC9-9F68-A58836EFED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467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108C169-4573-FCC9-9F68-A58836EFE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F9BE23D-92CF-3803-47F7-783BC2E81F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imate Strategy &amp; </a:t>
            </a:r>
            <a:br>
              <a:rPr lang="en-US" dirty="0"/>
            </a:br>
            <a:r>
              <a:rPr lang="en-US" dirty="0"/>
              <a:t>Corporate Carbon Footprint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0767B76-A3D8-89BE-400F-B737BF722CC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A49BE07-C03B-ABC8-F585-54293C1878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79328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59E9E4F-CCD6-4CFF-8883-C4E2FA53F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ur climate strategy is to become </a:t>
            </a:r>
            <a:r>
              <a:rPr lang="en-US" b="1" dirty="0"/>
              <a:t>climate neutral </a:t>
            </a:r>
            <a:r>
              <a:rPr lang="en-US" dirty="0"/>
              <a:t>as a corporate by 2030 following </a:t>
            </a:r>
            <a:r>
              <a:rPr lang="en-US" b="1" dirty="0"/>
              <a:t>science-based reduction targets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60DCFD0-8B9E-4D52-A6DF-0431CFF4BD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471" y="1259841"/>
            <a:ext cx="11631561" cy="515112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288361-5B0E-4851-84AB-9F0529F8B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BBF85E-6917-4845-A602-DCD652BCF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5680" y="6490643"/>
            <a:ext cx="518160" cy="2308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80FA03-0A85-4B0F-83EC-7DA6F4C91AB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EAF76A8E-E803-4A54-9E38-12956BF9B23A}"/>
              </a:ext>
            </a:extLst>
          </p:cNvPr>
          <p:cNvSpPr>
            <a:spLocks noChangeAspect="1"/>
          </p:cNvSpPr>
          <p:nvPr/>
        </p:nvSpPr>
        <p:spPr>
          <a:xfrm>
            <a:off x="8923043" y="3600549"/>
            <a:ext cx="1080000" cy="10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78D1370-5168-460B-879A-E8B531BBE5CB}"/>
              </a:ext>
            </a:extLst>
          </p:cNvPr>
          <p:cNvSpPr>
            <a:spLocks noChangeAspect="1"/>
          </p:cNvSpPr>
          <p:nvPr/>
        </p:nvSpPr>
        <p:spPr>
          <a:xfrm>
            <a:off x="8887043" y="3564549"/>
            <a:ext cx="1152000" cy="1152000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B4BB5DF-2520-4E0E-9432-7BDB955A134C}"/>
              </a:ext>
            </a:extLst>
          </p:cNvPr>
          <p:cNvSpPr txBox="1"/>
          <p:nvPr/>
        </p:nvSpPr>
        <p:spPr>
          <a:xfrm>
            <a:off x="8869043" y="3771217"/>
            <a:ext cx="1188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CLIMATE NEUTRAL CORPORAT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17FAE64-366C-4D2C-B1DF-CDB8D9E98067}"/>
              </a:ext>
            </a:extLst>
          </p:cNvPr>
          <p:cNvSpPr txBox="1"/>
          <p:nvPr/>
        </p:nvSpPr>
        <p:spPr>
          <a:xfrm rot="21060000">
            <a:off x="3839523" y="1978227"/>
            <a:ext cx="4071836" cy="307777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939393"/>
                </a:solidFill>
              </a:rPr>
              <a:t>Business as usua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6671BAC-2ECB-43D3-A5A4-03CF1CB6ACB8}"/>
              </a:ext>
            </a:extLst>
          </p:cNvPr>
          <p:cNvSpPr txBox="1"/>
          <p:nvPr/>
        </p:nvSpPr>
        <p:spPr>
          <a:xfrm rot="21060000">
            <a:off x="3382944" y="4402266"/>
            <a:ext cx="4291486" cy="307777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2C9A48"/>
                </a:solidFill>
              </a:rPr>
              <a:t>Offsetting remaining emissions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0478B5BA-5DCB-4226-8C0A-B6B17B3674AF}"/>
              </a:ext>
            </a:extLst>
          </p:cNvPr>
          <p:cNvCxnSpPr>
            <a:cxnSpLocks/>
          </p:cNvCxnSpPr>
          <p:nvPr/>
        </p:nvCxnSpPr>
        <p:spPr>
          <a:xfrm flipV="1">
            <a:off x="2927769" y="4205212"/>
            <a:ext cx="6021805" cy="957371"/>
          </a:xfrm>
          <a:prstGeom prst="straightConnector1">
            <a:avLst/>
          </a:prstGeom>
          <a:ln w="38100">
            <a:solidFill>
              <a:srgbClr val="2C9A48"/>
            </a:solidFill>
            <a:headEnd type="none" w="med" len="med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94F4C4B-D5EC-4A67-AC34-5B99F59BC6E6}"/>
              </a:ext>
            </a:extLst>
          </p:cNvPr>
          <p:cNvCxnSpPr>
            <a:cxnSpLocks/>
          </p:cNvCxnSpPr>
          <p:nvPr/>
        </p:nvCxnSpPr>
        <p:spPr>
          <a:xfrm>
            <a:off x="2842573" y="3102692"/>
            <a:ext cx="6108327" cy="951250"/>
          </a:xfrm>
          <a:prstGeom prst="straightConnector1">
            <a:avLst/>
          </a:prstGeom>
          <a:ln w="38100">
            <a:solidFill>
              <a:srgbClr val="654EA3"/>
            </a:solidFill>
            <a:headEnd type="none" w="med" len="med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1064F22C-7CBD-42B9-AA69-02034BDDFE24}"/>
              </a:ext>
            </a:extLst>
          </p:cNvPr>
          <p:cNvSpPr txBox="1"/>
          <p:nvPr/>
        </p:nvSpPr>
        <p:spPr>
          <a:xfrm rot="540000">
            <a:off x="4053237" y="3233627"/>
            <a:ext cx="3839581" cy="307777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rgbClr val="654EA3"/>
                </a:solidFill>
              </a:rPr>
              <a:t>Targeted emissions (avoid &amp; reduce)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0933300B-0D95-48E0-98E1-B817299493BD}"/>
              </a:ext>
            </a:extLst>
          </p:cNvPr>
          <p:cNvSpPr txBox="1"/>
          <p:nvPr/>
        </p:nvSpPr>
        <p:spPr>
          <a:xfrm>
            <a:off x="1802354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A3EFAF9-6F11-4B85-B2C2-4847528C596A}"/>
              </a:ext>
            </a:extLst>
          </p:cNvPr>
          <p:cNvSpPr txBox="1"/>
          <p:nvPr/>
        </p:nvSpPr>
        <p:spPr>
          <a:xfrm>
            <a:off x="9133194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30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80CB146-85B1-4016-9882-67532B4131B9}"/>
              </a:ext>
            </a:extLst>
          </p:cNvPr>
          <p:cNvSpPr txBox="1"/>
          <p:nvPr/>
        </p:nvSpPr>
        <p:spPr>
          <a:xfrm>
            <a:off x="7667026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8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FCFB2E6-EF4F-4193-8629-EEBA997C45C7}"/>
              </a:ext>
            </a:extLst>
          </p:cNvPr>
          <p:cNvSpPr txBox="1"/>
          <p:nvPr/>
        </p:nvSpPr>
        <p:spPr>
          <a:xfrm>
            <a:off x="6933942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7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5E06826-AD7B-468F-9C45-F00749A15942}"/>
              </a:ext>
            </a:extLst>
          </p:cNvPr>
          <p:cNvSpPr txBox="1"/>
          <p:nvPr/>
        </p:nvSpPr>
        <p:spPr>
          <a:xfrm>
            <a:off x="6200858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6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2B68046-9648-45FC-9C97-AA7DF8C17A15}"/>
              </a:ext>
            </a:extLst>
          </p:cNvPr>
          <p:cNvSpPr txBox="1"/>
          <p:nvPr/>
        </p:nvSpPr>
        <p:spPr>
          <a:xfrm>
            <a:off x="5467774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5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0A075D3-CEAB-45A5-A30D-3F05EEB4B1D1}"/>
              </a:ext>
            </a:extLst>
          </p:cNvPr>
          <p:cNvSpPr txBox="1"/>
          <p:nvPr/>
        </p:nvSpPr>
        <p:spPr>
          <a:xfrm>
            <a:off x="4734690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4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C5707F7-5E55-48DD-B2ED-86AD93F3EB65}"/>
              </a:ext>
            </a:extLst>
          </p:cNvPr>
          <p:cNvSpPr txBox="1"/>
          <p:nvPr/>
        </p:nvSpPr>
        <p:spPr>
          <a:xfrm>
            <a:off x="4001606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3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0AA292A3-664B-4DE6-BDB6-5ACDF7DA6EA4}"/>
              </a:ext>
            </a:extLst>
          </p:cNvPr>
          <p:cNvSpPr txBox="1"/>
          <p:nvPr/>
        </p:nvSpPr>
        <p:spPr>
          <a:xfrm>
            <a:off x="3268522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EB8F51B-9E08-4DC3-9C83-642AC1244DF1}"/>
              </a:ext>
            </a:extLst>
          </p:cNvPr>
          <p:cNvSpPr txBox="1"/>
          <p:nvPr/>
        </p:nvSpPr>
        <p:spPr>
          <a:xfrm>
            <a:off x="2535438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4368D34-BDA6-47D5-8151-83E8C68324A3}"/>
              </a:ext>
            </a:extLst>
          </p:cNvPr>
          <p:cNvSpPr txBox="1"/>
          <p:nvPr/>
        </p:nvSpPr>
        <p:spPr>
          <a:xfrm>
            <a:off x="8400110" y="538598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2029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6D5A6C66-81EE-4181-9899-3F1E9D8567AC}"/>
              </a:ext>
            </a:extLst>
          </p:cNvPr>
          <p:cNvSpPr txBox="1"/>
          <p:nvPr/>
        </p:nvSpPr>
        <p:spPr>
          <a:xfrm rot="16200000">
            <a:off x="-93573" y="3733037"/>
            <a:ext cx="30378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Greenhouse gas emissions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0F7674C-48AB-449D-BA49-3A908DE79BCE}"/>
              </a:ext>
            </a:extLst>
          </p:cNvPr>
          <p:cNvCxnSpPr>
            <a:cxnSpLocks/>
          </p:cNvCxnSpPr>
          <p:nvPr/>
        </p:nvCxnSpPr>
        <p:spPr>
          <a:xfrm flipV="1">
            <a:off x="2927769" y="1761371"/>
            <a:ext cx="6389354" cy="1061513"/>
          </a:xfrm>
          <a:prstGeom prst="line">
            <a:avLst/>
          </a:prstGeom>
          <a:ln w="38100" cap="rnd">
            <a:solidFill>
              <a:srgbClr val="93939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78EE6902-F377-4A05-A462-15286EF1B91A}"/>
              </a:ext>
            </a:extLst>
          </p:cNvPr>
          <p:cNvCxnSpPr>
            <a:cxnSpLocks/>
          </p:cNvCxnSpPr>
          <p:nvPr/>
        </p:nvCxnSpPr>
        <p:spPr>
          <a:xfrm rot="21060000">
            <a:off x="2022110" y="5239307"/>
            <a:ext cx="864000" cy="0"/>
          </a:xfrm>
          <a:prstGeom prst="line">
            <a:avLst/>
          </a:prstGeom>
          <a:ln w="38100" cap="rnd">
            <a:solidFill>
              <a:srgbClr val="2C9A4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75E00C44-99D5-4391-A9C4-7FB1BD3155A6}"/>
              </a:ext>
            </a:extLst>
          </p:cNvPr>
          <p:cNvSpPr>
            <a:spLocks noChangeAspect="1"/>
          </p:cNvSpPr>
          <p:nvPr/>
        </p:nvSpPr>
        <p:spPr>
          <a:xfrm>
            <a:off x="1872675" y="2406097"/>
            <a:ext cx="1188000" cy="11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A1CC7629-01A3-4212-9B4E-2B38A4B3BF1F}"/>
              </a:ext>
            </a:extLst>
          </p:cNvPr>
          <p:cNvSpPr>
            <a:spLocks noChangeAspect="1"/>
          </p:cNvSpPr>
          <p:nvPr/>
        </p:nvSpPr>
        <p:spPr>
          <a:xfrm>
            <a:off x="1836675" y="2370097"/>
            <a:ext cx="1260000" cy="1260000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04A8B1F5-F7C4-4B7A-8AC8-F926CAA30131}"/>
              </a:ext>
            </a:extLst>
          </p:cNvPr>
          <p:cNvSpPr txBox="1"/>
          <p:nvPr/>
        </p:nvSpPr>
        <p:spPr>
          <a:xfrm>
            <a:off x="1792984" y="2634508"/>
            <a:ext cx="1332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  <a:cs typeface="Arial" panose="020B0604020202020204" pitchFamily="34" charset="0"/>
              </a:rPr>
              <a:t>CORPORATE CARBON FOOTPRIN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5F01D67-5233-40A8-A55E-C8B42C2D7318}"/>
              </a:ext>
            </a:extLst>
          </p:cNvPr>
          <p:cNvSpPr/>
          <p:nvPr/>
        </p:nvSpPr>
        <p:spPr>
          <a:xfrm>
            <a:off x="0" y="5966336"/>
            <a:ext cx="12192000" cy="444625"/>
          </a:xfrm>
          <a:prstGeom prst="rect">
            <a:avLst/>
          </a:prstGeom>
          <a:solidFill>
            <a:srgbClr val="654E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Avoiding</a:t>
            </a:r>
            <a:r>
              <a:rPr lang="en-US" sz="2400" dirty="0"/>
              <a:t>, </a:t>
            </a:r>
            <a:r>
              <a:rPr lang="en-US" sz="2400" b="1" dirty="0"/>
              <a:t>reducing</a:t>
            </a:r>
            <a:r>
              <a:rPr lang="en-US" sz="2400" dirty="0"/>
              <a:t> and </a:t>
            </a:r>
            <a:r>
              <a:rPr lang="en-US" sz="2400" b="1" dirty="0"/>
              <a:t>offsetting</a:t>
            </a:r>
            <a:r>
              <a:rPr lang="en-US" sz="2400" dirty="0"/>
              <a:t> greenhouse gases</a:t>
            </a:r>
          </a:p>
        </p:txBody>
      </p:sp>
    </p:spTree>
    <p:extLst>
      <p:ext uri="{BB962C8B-B14F-4D97-AF65-F5344CB8AC3E}">
        <p14:creationId xmlns:p14="http://schemas.microsoft.com/office/powerpoint/2010/main" val="6995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Text, Schrift, Screenshot, Visitenkarte enthält.&#10;&#10;Automatisch generierte Beschreibung">
            <a:extLst>
              <a:ext uri="{FF2B5EF4-FFF2-40B4-BE49-F238E27FC236}">
                <a16:creationId xmlns:a16="http://schemas.microsoft.com/office/drawing/2014/main" id="{61254656-6865-779A-9F36-5A54154222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4462" y="1259841"/>
            <a:ext cx="5149850" cy="5149850"/>
          </a:xfrm>
          <a:prstGeom prst="rect">
            <a:avLst/>
          </a:prstGeom>
        </p:spPr>
      </p:pic>
      <p:pic>
        <p:nvPicPr>
          <p:cNvPr id="3" name="Grafik 2" descr="Ein Bild, das Text, Schrift, Screenshot, Visitenkarte enthält.&#10;&#10;Automatisch generierte Beschreibung">
            <a:extLst>
              <a:ext uri="{FF2B5EF4-FFF2-40B4-BE49-F238E27FC236}">
                <a16:creationId xmlns:a16="http://schemas.microsoft.com/office/drawing/2014/main" id="{967C36C8-926A-9D16-F68C-0E2D180D9C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98" y="1260475"/>
            <a:ext cx="5149850" cy="5149850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CB887C2E-2730-BE34-689D-816135114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We‘re</a:t>
            </a:r>
            <a:r>
              <a:rPr lang="de-DE" dirty="0"/>
              <a:t> </a:t>
            </a:r>
            <a:r>
              <a:rPr lang="de-DE" dirty="0" err="1"/>
              <a:t>commit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cience </a:t>
            </a:r>
            <a:r>
              <a:rPr lang="de-DE" dirty="0" err="1"/>
              <a:t>Based</a:t>
            </a:r>
            <a:r>
              <a:rPr lang="de-DE" dirty="0"/>
              <a:t> Targets Initiativ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57A8D8-64A5-36D2-806A-896CA121E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88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hrift, Screenshot, Visitenkarte enthält.&#10;&#10;Automatisch generierte Beschreibung">
            <a:extLst>
              <a:ext uri="{FF2B5EF4-FFF2-40B4-BE49-F238E27FC236}">
                <a16:creationId xmlns:a16="http://schemas.microsoft.com/office/drawing/2014/main" id="{72388BAF-E40C-BF74-37CB-93390D616D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9882" y="4171622"/>
            <a:ext cx="1547387" cy="1547387"/>
          </a:xfrm>
          <a:prstGeom prst="rect">
            <a:avLst/>
          </a:prstGeom>
        </p:spPr>
      </p:pic>
      <p:pic>
        <p:nvPicPr>
          <p:cNvPr id="11" name="Grafik 10" descr="Ein Bild, das Text, Schrift, Screenshot, Visitenkarte enthält.&#10;&#10;Automatisch generierte Beschreibung">
            <a:extLst>
              <a:ext uri="{FF2B5EF4-FFF2-40B4-BE49-F238E27FC236}">
                <a16:creationId xmlns:a16="http://schemas.microsoft.com/office/drawing/2014/main" id="{FBD657D2-F08A-2273-17AF-E099A0406F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4620" y="2124562"/>
            <a:ext cx="1542650" cy="1542650"/>
          </a:xfrm>
          <a:prstGeom prst="rect">
            <a:avLst/>
          </a:prstGeom>
        </p:spPr>
      </p:pic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69A0B97D-7C83-4D1E-825C-67930F773E9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853960"/>
              </p:ext>
            </p:extLst>
          </p:nvPr>
        </p:nvGraphicFramePr>
        <p:xfrm>
          <a:off x="334963" y="1260475"/>
          <a:ext cx="7681912" cy="5149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377EFF-A9DB-4401-82FD-493226380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C8617F9-564E-A9AB-2A66-699D4EC708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sz="2800" b="1" dirty="0"/>
              <a:t>Science-</a:t>
            </a:r>
            <a:r>
              <a:rPr lang="de-DE" sz="2800" b="1" dirty="0" err="1"/>
              <a:t>based</a:t>
            </a:r>
            <a:r>
              <a:rPr lang="de-DE" sz="2800" b="1" dirty="0"/>
              <a:t> </a:t>
            </a:r>
            <a:r>
              <a:rPr lang="de-DE" sz="2800" b="1" dirty="0" err="1"/>
              <a:t>targets</a:t>
            </a:r>
            <a:endParaRPr lang="de-DE" sz="2800" b="1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CD237F-43B1-4B23-9FC8-7577B7D9B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Corporate Carbon Footprint (tCO</a:t>
            </a:r>
            <a:r>
              <a:rPr lang="de-DE" baseline="-25000" dirty="0"/>
              <a:t>2</a:t>
            </a:r>
            <a:r>
              <a:rPr lang="de-DE" dirty="0"/>
              <a:t>e)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8401A6A-4031-45F9-84AC-01553ABBC1CD}"/>
              </a:ext>
            </a:extLst>
          </p:cNvPr>
          <p:cNvSpPr txBox="1"/>
          <p:nvPr/>
        </p:nvSpPr>
        <p:spPr>
          <a:xfrm>
            <a:off x="10046742" y="2302827"/>
            <a:ext cx="214525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cope 1 &amp; 2 target overachieved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E85A6B9-4EF9-4D25-9065-4C9F6C30BD3C}"/>
              </a:ext>
            </a:extLst>
          </p:cNvPr>
          <p:cNvSpPr txBox="1"/>
          <p:nvPr/>
        </p:nvSpPr>
        <p:spPr>
          <a:xfrm>
            <a:off x="10046742" y="4340843"/>
            <a:ext cx="214525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sym typeface="Wingdings" panose="05000000000000000000" pitchFamily="2" charset="2"/>
              </a:rPr>
              <a:t>Nearly on    plan for    Scope 3 target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80892EC-5857-4B57-8732-EF8BEF8C501F}"/>
              </a:ext>
            </a:extLst>
          </p:cNvPr>
          <p:cNvSpPr txBox="1"/>
          <p:nvPr/>
        </p:nvSpPr>
        <p:spPr>
          <a:xfrm>
            <a:off x="802165" y="2128663"/>
            <a:ext cx="9421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21,573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0CD8DEA-876D-421A-A698-8D163448DB87}"/>
              </a:ext>
            </a:extLst>
          </p:cNvPr>
          <p:cNvSpPr txBox="1"/>
          <p:nvPr/>
        </p:nvSpPr>
        <p:spPr>
          <a:xfrm>
            <a:off x="7103047" y="3363960"/>
            <a:ext cx="9421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14,145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0751736-DD15-2572-6712-6AE4E1FDE10A}"/>
              </a:ext>
            </a:extLst>
          </p:cNvPr>
          <p:cNvSpPr txBox="1"/>
          <p:nvPr/>
        </p:nvSpPr>
        <p:spPr>
          <a:xfrm>
            <a:off x="1369851" y="1677058"/>
            <a:ext cx="9421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24,129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B2E8DAB-0841-2A56-3217-11426072FB0B}"/>
              </a:ext>
            </a:extLst>
          </p:cNvPr>
          <p:cNvSpPr txBox="1"/>
          <p:nvPr/>
        </p:nvSpPr>
        <p:spPr>
          <a:xfrm>
            <a:off x="1941804" y="2308422"/>
            <a:ext cx="9421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20,453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E81C92C-3C0C-C930-B61F-523D8F17182E}"/>
              </a:ext>
            </a:extLst>
          </p:cNvPr>
          <p:cNvSpPr txBox="1"/>
          <p:nvPr/>
        </p:nvSpPr>
        <p:spPr>
          <a:xfrm>
            <a:off x="2528048" y="2664239"/>
            <a:ext cx="9421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18,368</a:t>
            </a:r>
          </a:p>
        </p:txBody>
      </p:sp>
    </p:spTree>
    <p:extLst>
      <p:ext uri="{BB962C8B-B14F-4D97-AF65-F5344CB8AC3E}">
        <p14:creationId xmlns:p14="http://schemas.microsoft.com/office/powerpoint/2010/main" val="37604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8FF7992-9107-66E8-46B5-9C40399B17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18,368t CO</a:t>
            </a:r>
            <a:r>
              <a:rPr lang="de-DE" baseline="-25000" dirty="0"/>
              <a:t>2</a:t>
            </a:r>
            <a:r>
              <a:rPr lang="de-DE" dirty="0"/>
              <a:t>e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92CCC1A-E7D8-5C3A-A274-0E487F8AD7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4441995"/>
              </p:ext>
            </p:extLst>
          </p:nvPr>
        </p:nvGraphicFramePr>
        <p:xfrm>
          <a:off x="2166844" y="1259842"/>
          <a:ext cx="7858312" cy="5151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5">
            <a:extLst>
              <a:ext uri="{FF2B5EF4-FFF2-40B4-BE49-F238E27FC236}">
                <a16:creationId xmlns:a16="http://schemas.microsoft.com/office/drawing/2014/main" id="{CA6B0FEC-77D4-D5C2-CB42-9542FC3CC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porate Carbon Footprint 2022</a:t>
            </a:r>
          </a:p>
        </p:txBody>
      </p:sp>
    </p:spTree>
    <p:extLst>
      <p:ext uri="{BB962C8B-B14F-4D97-AF65-F5344CB8AC3E}">
        <p14:creationId xmlns:p14="http://schemas.microsoft.com/office/powerpoint/2010/main" val="139160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8FF7992-9107-66E8-46B5-9C40399B17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0,453t CO</a:t>
            </a:r>
            <a:r>
              <a:rPr lang="de-DE" baseline="-25000" dirty="0"/>
              <a:t>2</a:t>
            </a:r>
            <a:r>
              <a:rPr lang="de-DE" dirty="0"/>
              <a:t>e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92CCC1A-E7D8-5C3A-A274-0E487F8AD7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95957"/>
              </p:ext>
            </p:extLst>
          </p:nvPr>
        </p:nvGraphicFramePr>
        <p:xfrm>
          <a:off x="2166844" y="1259842"/>
          <a:ext cx="7858312" cy="5151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5">
            <a:extLst>
              <a:ext uri="{FF2B5EF4-FFF2-40B4-BE49-F238E27FC236}">
                <a16:creationId xmlns:a16="http://schemas.microsoft.com/office/drawing/2014/main" id="{CA6B0FEC-77D4-D5C2-CB42-9542FC3CC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porate Carbon Footprint 2021</a:t>
            </a:r>
          </a:p>
        </p:txBody>
      </p:sp>
    </p:spTree>
    <p:extLst>
      <p:ext uri="{BB962C8B-B14F-4D97-AF65-F5344CB8AC3E}">
        <p14:creationId xmlns:p14="http://schemas.microsoft.com/office/powerpoint/2010/main" val="246250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268A5DC-3CE3-7D3F-E625-F543D86B30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4,129t CO</a:t>
            </a:r>
            <a:r>
              <a:rPr lang="de-DE" baseline="-25000" dirty="0"/>
              <a:t>2</a:t>
            </a:r>
            <a:r>
              <a:rPr lang="de-DE" dirty="0"/>
              <a:t>e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92CCC1A-E7D8-5C3A-A274-0E487F8AD7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7577452"/>
              </p:ext>
            </p:extLst>
          </p:nvPr>
        </p:nvGraphicFramePr>
        <p:xfrm>
          <a:off x="2148681" y="1259842"/>
          <a:ext cx="7894639" cy="5151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5">
            <a:extLst>
              <a:ext uri="{FF2B5EF4-FFF2-40B4-BE49-F238E27FC236}">
                <a16:creationId xmlns:a16="http://schemas.microsoft.com/office/drawing/2014/main" id="{6D3692C1-B392-979A-AE33-4F8265D1B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porate Carbon Footprint 2020</a:t>
            </a:r>
          </a:p>
        </p:txBody>
      </p:sp>
    </p:spTree>
    <p:extLst>
      <p:ext uri="{BB962C8B-B14F-4D97-AF65-F5344CB8AC3E}">
        <p14:creationId xmlns:p14="http://schemas.microsoft.com/office/powerpoint/2010/main" val="319292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D92CCC1A-E7D8-5C3A-A274-0E487F8AD7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8925390"/>
              </p:ext>
            </p:extLst>
          </p:nvPr>
        </p:nvGraphicFramePr>
        <p:xfrm>
          <a:off x="2133979" y="1259842"/>
          <a:ext cx="7924042" cy="5151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AC2ECAD-7D95-E2E6-976D-274C9B333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rporate Carbon Footprint 2019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9210F03-A2B0-D39F-37E0-FCBA367F9A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21,573t CO</a:t>
            </a:r>
            <a:r>
              <a:rPr lang="de-DE" baseline="-25000" dirty="0"/>
              <a:t>2</a:t>
            </a:r>
            <a:r>
              <a:rPr lang="de-DE" dirty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53936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Custom 8">
      <a:dk1>
        <a:srgbClr val="373A36"/>
      </a:dk1>
      <a:lt1>
        <a:srgbClr val="FFFFFF"/>
      </a:lt1>
      <a:dk2>
        <a:srgbClr val="6C6F6C"/>
      </a:dk2>
      <a:lt2>
        <a:srgbClr val="F9F4EB"/>
      </a:lt2>
      <a:accent1>
        <a:srgbClr val="654EA3"/>
      </a:accent1>
      <a:accent2>
        <a:srgbClr val="C1B4D9"/>
      </a:accent2>
      <a:accent3>
        <a:srgbClr val="FF8980"/>
      </a:accent3>
      <a:accent4>
        <a:srgbClr val="284734"/>
      </a:accent4>
      <a:accent5>
        <a:srgbClr val="00B0B9"/>
      </a:accent5>
      <a:accent6>
        <a:srgbClr val="E7E8E7"/>
      </a:accent6>
      <a:hlink>
        <a:srgbClr val="654EA3"/>
      </a:hlink>
      <a:folHlink>
        <a:srgbClr val="FF8980"/>
      </a:folHlink>
    </a:clrScheme>
    <a:fontScheme name="Custom 67">
      <a:majorFont>
        <a:latin typeface="Book Antiqu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ansinoh Template_2023.pptx" id="{90AD1BA1-E3E9-427F-B676-174AB462121F}" vid="{2C68D345-7C4F-4984-92C7-40933EAF7D6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ansinoh Template_2023</Template>
  <TotalTime>0</TotalTime>
  <Words>241</Words>
  <Application>Microsoft Office PowerPoint</Application>
  <PresentationFormat>Breitbild</PresentationFormat>
  <Paragraphs>57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Gotham-Bold</vt:lpstr>
      <vt:lpstr>Gotham-Book</vt:lpstr>
      <vt:lpstr>Arial</vt:lpstr>
      <vt:lpstr>Book Antiqua</vt:lpstr>
      <vt:lpstr>Calibri</vt:lpstr>
      <vt:lpstr>Wingdings</vt:lpstr>
      <vt:lpstr>Office</vt:lpstr>
      <vt:lpstr>think-cell Slide</vt:lpstr>
      <vt:lpstr>Climate Strategy &amp;  Corporate Carbon Footprints</vt:lpstr>
      <vt:lpstr>Our climate strategy is to become climate neutral as a corporate by 2030 following science-based reduction targets</vt:lpstr>
      <vt:lpstr>We‘re committed to the Science Based Targets Initiative</vt:lpstr>
      <vt:lpstr>Corporate Carbon Footprint (tCO2e)</vt:lpstr>
      <vt:lpstr>Corporate Carbon Footprint 2022</vt:lpstr>
      <vt:lpstr>Corporate Carbon Footprint 2021</vt:lpstr>
      <vt:lpstr>Corporate Carbon Footprint 2020</vt:lpstr>
      <vt:lpstr>Corporate Carbon Footprint 2019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Carbon Footprints</dc:title>
  <dc:creator>Leonard Sasse</dc:creator>
  <cp:lastModifiedBy>Leonard Sasse</cp:lastModifiedBy>
  <cp:revision>8</cp:revision>
  <dcterms:created xsi:type="dcterms:W3CDTF">2023-01-18T08:52:24Z</dcterms:created>
  <dcterms:modified xsi:type="dcterms:W3CDTF">2023-07-04T11:40:04Z</dcterms:modified>
</cp:coreProperties>
</file>